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comments/modernComment_7FF646B1_1003DBE4.xml" ContentType="application/vnd.ms-powerpoint.comments+xml"/>
  <Override PartName="/ppt/notesSlides/notesSlide4.xml" ContentType="application/vnd.openxmlformats-officedocument.presentationml.notesSlide+xml"/>
  <Override PartName="/ppt/comments/modernComment_7FF646C8_7A85E3D2.xml" ContentType="application/vnd.ms-powerpoint.comment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omments/modernComment_7FF646BF_5A9266E0.xml" ContentType="application/vnd.ms-powerpoint.comment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2" r:id="rId5"/>
  </p:sldMasterIdLst>
  <p:notesMasterIdLst>
    <p:notesMasterId r:id="rId50"/>
  </p:notesMasterIdLst>
  <p:sldIdLst>
    <p:sldId id="256" r:id="rId6"/>
    <p:sldId id="2146846337" r:id="rId7"/>
    <p:sldId id="2146846382" r:id="rId8"/>
    <p:sldId id="2146846414" r:id="rId9"/>
    <p:sldId id="2146846383" r:id="rId10"/>
    <p:sldId id="2146846385" r:id="rId11"/>
    <p:sldId id="2146846408" r:id="rId12"/>
    <p:sldId id="2146846415" r:id="rId13"/>
    <p:sldId id="2146846386" r:id="rId14"/>
    <p:sldId id="2146846384" r:id="rId15"/>
    <p:sldId id="2146846390" r:id="rId16"/>
    <p:sldId id="2146846420" r:id="rId17"/>
    <p:sldId id="2146846388" r:id="rId18"/>
    <p:sldId id="2146846418" r:id="rId19"/>
    <p:sldId id="2146846387" r:id="rId20"/>
    <p:sldId id="2146846416" r:id="rId21"/>
    <p:sldId id="2146846430" r:id="rId22"/>
    <p:sldId id="2146846392" r:id="rId23"/>
    <p:sldId id="2146846393" r:id="rId24"/>
    <p:sldId id="2146846426" r:id="rId25"/>
    <p:sldId id="2146846400" r:id="rId26"/>
    <p:sldId id="2146846401" r:id="rId27"/>
    <p:sldId id="2146846428" r:id="rId28"/>
    <p:sldId id="2146846423" r:id="rId29"/>
    <p:sldId id="2146846396" r:id="rId30"/>
    <p:sldId id="2146846397" r:id="rId31"/>
    <p:sldId id="2146846424" r:id="rId32"/>
    <p:sldId id="2146846398" r:id="rId33"/>
    <p:sldId id="2146846429" r:id="rId34"/>
    <p:sldId id="2146846405" r:id="rId35"/>
    <p:sldId id="2146846407" r:id="rId36"/>
    <p:sldId id="2146846412" r:id="rId37"/>
    <p:sldId id="2146846410" r:id="rId38"/>
    <p:sldId id="2146846411" r:id="rId39"/>
    <p:sldId id="2146846394" r:id="rId40"/>
    <p:sldId id="2146846389" r:id="rId41"/>
    <p:sldId id="2146846431" r:id="rId42"/>
    <p:sldId id="2146846427" r:id="rId43"/>
    <p:sldId id="2146846422" r:id="rId44"/>
    <p:sldId id="2146846421" r:id="rId45"/>
    <p:sldId id="2146846432" r:id="rId46"/>
    <p:sldId id="2146846425" r:id="rId47"/>
    <p:sldId id="2146846399" r:id="rId48"/>
    <p:sldId id="2146846404" r:id="rId4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103F856-72F8-ECA0-810E-0BEC36EF5530}" name="Ariel Wang" initials="AW" userId="S::ariel.wang@bayer.com::d2c7e74e-eae9-4734-a288-19d4dc96c996"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DAE3F3"/>
    <a:srgbClr val="10384F"/>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0E0B03F-9C23-4EB7-EC9D-BE8A25EA5340}" v="25" dt="2023-07-28T20:07:28.180"/>
    <p1510:client id="{3A6F4128-6482-4C75-8C7D-220A75826C22}" v="23453" dt="2023-07-27T20:49:07.744"/>
    <p1510:client id="{6707D0DE-09F7-DB41-A5DA-F59333012196}" v="3052" dt="2023-07-27T19:14:30.14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838" autoAdjust="0"/>
    <p:restoredTop sz="84019" autoAdjust="0"/>
  </p:normalViewPr>
  <p:slideViewPr>
    <p:cSldViewPr snapToGrid="0">
      <p:cViewPr>
        <p:scale>
          <a:sx n="100" d="100"/>
          <a:sy n="100" d="100"/>
        </p:scale>
        <p:origin x="1002"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notesMaster" Target="notesMasters/notesMaster1.xml"/><Relationship Id="rId55" Type="http://schemas.microsoft.com/office/2016/11/relationships/changesInfo" Target="changesInfos/changesInfo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heme" Target="theme/theme1.xml"/><Relationship Id="rId5" Type="http://schemas.openxmlformats.org/officeDocument/2006/relationships/slideMaster" Target="slideMasters/slideMaster1.xml"/><Relationship Id="rId19" Type="http://schemas.openxmlformats.org/officeDocument/2006/relationships/slide" Target="slides/slide14.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microsoft.com/office/2015/10/relationships/revisionInfo" Target="revisionInfo.xml"/><Relationship Id="rId8" Type="http://schemas.openxmlformats.org/officeDocument/2006/relationships/slide" Target="slides/slide3.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microsoft.com/office/2018/10/relationships/authors" Target="authors.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eng Yu" userId="c4296079-1ff1-42fb-b039-eea7909ccca4" providerId="ADAL" clId="{2830182F-6579-404B-BCA4-FB94AB31098F}"/>
    <pc:docChg chg="">
      <pc:chgData name="Feng Yu" userId="c4296079-1ff1-42fb-b039-eea7909ccca4" providerId="ADAL" clId="{2830182F-6579-404B-BCA4-FB94AB31098F}" dt="2023-07-25T18:43:38.111" v="0" actId="2056"/>
      <pc:docMkLst>
        <pc:docMk/>
      </pc:docMkLst>
      <pc:sldChg chg="modCm">
        <pc:chgData name="Feng Yu" userId="c4296079-1ff1-42fb-b039-eea7909ccca4" providerId="ADAL" clId="{2830182F-6579-404B-BCA4-FB94AB31098F}" dt="2023-07-25T18:43:38.111" v="0" actId="2056"/>
        <pc:sldMkLst>
          <pc:docMk/>
          <pc:sldMk cId="3666602129" sldId="2146846383"/>
        </pc:sldMkLst>
      </pc:sldChg>
    </pc:docChg>
  </pc:docChgLst>
  <pc:docChgLst>
    <pc:chgData name="Md Fahim Hasan" userId="S::mdfahim.hasan@bayer.com::92968fce-d4dd-4b9e-8635-66a07c9f98a7" providerId="AD" clId="Web-{10E0B03F-9C23-4EB7-EC9D-BE8A25EA5340}"/>
    <pc:docChg chg="modSld">
      <pc:chgData name="Md Fahim Hasan" userId="S::mdfahim.hasan@bayer.com::92968fce-d4dd-4b9e-8635-66a07c9f98a7" providerId="AD" clId="Web-{10E0B03F-9C23-4EB7-EC9D-BE8A25EA5340}" dt="2023-07-28T20:07:13.773" v="11" actId="20577"/>
      <pc:docMkLst>
        <pc:docMk/>
      </pc:docMkLst>
      <pc:sldChg chg="modSp">
        <pc:chgData name="Md Fahim Hasan" userId="S::mdfahim.hasan@bayer.com::92968fce-d4dd-4b9e-8635-66a07c9f98a7" providerId="AD" clId="Web-{10E0B03F-9C23-4EB7-EC9D-BE8A25EA5340}" dt="2023-07-28T20:06:07.757" v="0" actId="20577"/>
        <pc:sldMkLst>
          <pc:docMk/>
          <pc:sldMk cId="3299819554" sldId="2146846386"/>
        </pc:sldMkLst>
        <pc:spChg chg="mod">
          <ac:chgData name="Md Fahim Hasan" userId="S::mdfahim.hasan@bayer.com::92968fce-d4dd-4b9e-8635-66a07c9f98a7" providerId="AD" clId="Web-{10E0B03F-9C23-4EB7-EC9D-BE8A25EA5340}" dt="2023-07-28T20:06:07.757" v="0" actId="20577"/>
          <ac:spMkLst>
            <pc:docMk/>
            <pc:sldMk cId="3299819554" sldId="2146846386"/>
            <ac:spMk id="4" creationId="{6E725962-AA6E-3764-10EC-09E349BF7BE0}"/>
          </ac:spMkLst>
        </pc:spChg>
      </pc:sldChg>
      <pc:sldChg chg="modSp">
        <pc:chgData name="Md Fahim Hasan" userId="S::mdfahim.hasan@bayer.com::92968fce-d4dd-4b9e-8635-66a07c9f98a7" providerId="AD" clId="Web-{10E0B03F-9C23-4EB7-EC9D-BE8A25EA5340}" dt="2023-07-28T20:06:50.351" v="9" actId="20577"/>
        <pc:sldMkLst>
          <pc:docMk/>
          <pc:sldMk cId="50484898" sldId="2146846388"/>
        </pc:sldMkLst>
        <pc:spChg chg="mod">
          <ac:chgData name="Md Fahim Hasan" userId="S::mdfahim.hasan@bayer.com::92968fce-d4dd-4b9e-8635-66a07c9f98a7" providerId="AD" clId="Web-{10E0B03F-9C23-4EB7-EC9D-BE8A25EA5340}" dt="2023-07-28T20:06:50.351" v="9" actId="20577"/>
          <ac:spMkLst>
            <pc:docMk/>
            <pc:sldMk cId="50484898" sldId="2146846388"/>
            <ac:spMk id="20" creationId="{D8E263AE-6047-CA16-0E7E-853CAB8E6BF3}"/>
          </ac:spMkLst>
        </pc:spChg>
      </pc:sldChg>
      <pc:sldChg chg="modSp">
        <pc:chgData name="Md Fahim Hasan" userId="S::mdfahim.hasan@bayer.com::92968fce-d4dd-4b9e-8635-66a07c9f98a7" providerId="AD" clId="Web-{10E0B03F-9C23-4EB7-EC9D-BE8A25EA5340}" dt="2023-07-28T20:07:13.773" v="11" actId="20577"/>
        <pc:sldMkLst>
          <pc:docMk/>
          <pc:sldMk cId="310068329" sldId="2146846396"/>
        </pc:sldMkLst>
        <pc:spChg chg="mod">
          <ac:chgData name="Md Fahim Hasan" userId="S::mdfahim.hasan@bayer.com::92968fce-d4dd-4b9e-8635-66a07c9f98a7" providerId="AD" clId="Web-{10E0B03F-9C23-4EB7-EC9D-BE8A25EA5340}" dt="2023-07-28T20:07:13.773" v="11" actId="20577"/>
          <ac:spMkLst>
            <pc:docMk/>
            <pc:sldMk cId="310068329" sldId="2146846396"/>
            <ac:spMk id="10" creationId="{DDD763E9-CE6D-7E6C-735D-E01DF9793F16}"/>
          </ac:spMkLst>
        </pc:spChg>
      </pc:sldChg>
      <pc:sldChg chg="modSp">
        <pc:chgData name="Md Fahim Hasan" userId="S::mdfahim.hasan@bayer.com::92968fce-d4dd-4b9e-8635-66a07c9f98a7" providerId="AD" clId="Web-{10E0B03F-9C23-4EB7-EC9D-BE8A25EA5340}" dt="2023-07-28T20:06:32.304" v="4" actId="20577"/>
        <pc:sldMkLst>
          <pc:docMk/>
          <pc:sldMk cId="3091098860" sldId="2146846420"/>
        </pc:sldMkLst>
        <pc:spChg chg="mod">
          <ac:chgData name="Md Fahim Hasan" userId="S::mdfahim.hasan@bayer.com::92968fce-d4dd-4b9e-8635-66a07c9f98a7" providerId="AD" clId="Web-{10E0B03F-9C23-4EB7-EC9D-BE8A25EA5340}" dt="2023-07-28T20:06:32.304" v="4" actId="20577"/>
          <ac:spMkLst>
            <pc:docMk/>
            <pc:sldMk cId="3091098860" sldId="2146846420"/>
            <ac:spMk id="3" creationId="{76C83492-675C-BDF8-08D6-D05F59107492}"/>
          </ac:spMkLst>
        </pc:spChg>
        <pc:spChg chg="mod">
          <ac:chgData name="Md Fahim Hasan" userId="S::mdfahim.hasan@bayer.com::92968fce-d4dd-4b9e-8635-66a07c9f98a7" providerId="AD" clId="Web-{10E0B03F-9C23-4EB7-EC9D-BE8A25EA5340}" dt="2023-07-28T20:06:20.538" v="2" actId="20577"/>
          <ac:spMkLst>
            <pc:docMk/>
            <pc:sldMk cId="3091098860" sldId="2146846420"/>
            <ac:spMk id="10" creationId="{0493CA3C-A4A5-7D4C-211C-75EC0115E151}"/>
          </ac:spMkLst>
        </pc:spChg>
      </pc:sldChg>
    </pc:docChg>
  </pc:docChgLst>
  <pc:docChgLst>
    <pc:chgData name="Md Fahim Hasan" userId="92968fce-d4dd-4b9e-8635-66a07c9f98a7" providerId="ADAL" clId="{3A6F4128-6482-4C75-8C7D-220A75826C22}"/>
    <pc:docChg chg="undo redo custSel mod addSld delSld modSld sldOrd modMainMaster">
      <pc:chgData name="Md Fahim Hasan" userId="92968fce-d4dd-4b9e-8635-66a07c9f98a7" providerId="ADAL" clId="{3A6F4128-6482-4C75-8C7D-220A75826C22}" dt="2023-07-27T20:49:07.744" v="38142" actId="1076"/>
      <pc:docMkLst>
        <pc:docMk/>
      </pc:docMkLst>
      <pc:sldChg chg="delSp modSp mod setBg delDesignElem">
        <pc:chgData name="Md Fahim Hasan" userId="92968fce-d4dd-4b9e-8635-66a07c9f98a7" providerId="ADAL" clId="{3A6F4128-6482-4C75-8C7D-220A75826C22}" dt="2023-07-27T20:49:07.744" v="38142" actId="1076"/>
        <pc:sldMkLst>
          <pc:docMk/>
          <pc:sldMk cId="2057978156" sldId="256"/>
        </pc:sldMkLst>
        <pc:spChg chg="mod">
          <ac:chgData name="Md Fahim Hasan" userId="92968fce-d4dd-4b9e-8635-66a07c9f98a7" providerId="ADAL" clId="{3A6F4128-6482-4C75-8C7D-220A75826C22}" dt="2023-07-26T17:10:59.013" v="21799" actId="20577"/>
          <ac:spMkLst>
            <pc:docMk/>
            <pc:sldMk cId="2057978156" sldId="256"/>
            <ac:spMk id="3" creationId="{38F72305-8CA3-1450-F878-0014A899FB3E}"/>
          </ac:spMkLst>
        </pc:spChg>
        <pc:spChg chg="mod">
          <ac:chgData name="Md Fahim Hasan" userId="92968fce-d4dd-4b9e-8635-66a07c9f98a7" providerId="ADAL" clId="{3A6F4128-6482-4C75-8C7D-220A75826C22}" dt="2023-07-27T20:49:07.744" v="38142" actId="1076"/>
          <ac:spMkLst>
            <pc:docMk/>
            <pc:sldMk cId="2057978156" sldId="256"/>
            <ac:spMk id="5" creationId="{86E3427F-CEA6-580F-2887-D38E7EF0BF56}"/>
          </ac:spMkLst>
        </pc:spChg>
        <pc:spChg chg="del">
          <ac:chgData name="Md Fahim Hasan" userId="92968fce-d4dd-4b9e-8635-66a07c9f98a7" providerId="ADAL" clId="{3A6F4128-6482-4C75-8C7D-220A75826C22}" dt="2023-07-27T15:51:58.279" v="35706"/>
          <ac:spMkLst>
            <pc:docMk/>
            <pc:sldMk cId="2057978156" sldId="256"/>
            <ac:spMk id="31" creationId="{3C54F4CE-85F0-46ED-80DA-9518C9251AD1}"/>
          </ac:spMkLst>
        </pc:spChg>
        <pc:spChg chg="del">
          <ac:chgData name="Md Fahim Hasan" userId="92968fce-d4dd-4b9e-8635-66a07c9f98a7" providerId="ADAL" clId="{3A6F4128-6482-4C75-8C7D-220A75826C22}" dt="2023-07-27T15:51:58.279" v="35706"/>
          <ac:spMkLst>
            <pc:docMk/>
            <pc:sldMk cId="2057978156" sldId="256"/>
            <ac:spMk id="33" creationId="{DADD1FCA-8ACB-4958-81DD-4CDD6D3E1921}"/>
          </ac:spMkLst>
        </pc:spChg>
      </pc:sldChg>
      <pc:sldChg chg="addSp delSp modSp del mod ord setBg">
        <pc:chgData name="Md Fahim Hasan" userId="92968fce-d4dd-4b9e-8635-66a07c9f98a7" providerId="ADAL" clId="{3A6F4128-6482-4C75-8C7D-220A75826C22}" dt="2023-07-20T19:35:21.865" v="9826" actId="47"/>
        <pc:sldMkLst>
          <pc:docMk/>
          <pc:sldMk cId="1373699450" sldId="259"/>
        </pc:sldMkLst>
        <pc:spChg chg="mod ord">
          <ac:chgData name="Md Fahim Hasan" userId="92968fce-d4dd-4b9e-8635-66a07c9f98a7" providerId="ADAL" clId="{3A6F4128-6482-4C75-8C7D-220A75826C22}" dt="2023-07-20T19:23:19.991" v="9675" actId="1076"/>
          <ac:spMkLst>
            <pc:docMk/>
            <pc:sldMk cId="1373699450" sldId="259"/>
            <ac:spMk id="2" creationId="{3686BA84-DCD5-9E45-57C1-47E4B920DEDD}"/>
          </ac:spMkLst>
        </pc:spChg>
        <pc:spChg chg="mod ord">
          <ac:chgData name="Md Fahim Hasan" userId="92968fce-d4dd-4b9e-8635-66a07c9f98a7" providerId="ADAL" clId="{3A6F4128-6482-4C75-8C7D-220A75826C22}" dt="2023-07-20T19:29:41.029" v="9763" actId="6549"/>
          <ac:spMkLst>
            <pc:docMk/>
            <pc:sldMk cId="1373699450" sldId="259"/>
            <ac:spMk id="3" creationId="{38F72305-8CA3-1450-F878-0014A899FB3E}"/>
          </ac:spMkLst>
        </pc:spChg>
        <pc:spChg chg="add del mod">
          <ac:chgData name="Md Fahim Hasan" userId="92968fce-d4dd-4b9e-8635-66a07c9f98a7" providerId="ADAL" clId="{3A6F4128-6482-4C75-8C7D-220A75826C22}" dt="2023-07-20T19:16:17.210" v="9655" actId="478"/>
          <ac:spMkLst>
            <pc:docMk/>
            <pc:sldMk cId="1373699450" sldId="259"/>
            <ac:spMk id="4" creationId="{3B5A11F5-28B3-EF2C-2A85-24179FD41055}"/>
          </ac:spMkLst>
        </pc:spChg>
        <pc:spChg chg="add mod">
          <ac:chgData name="Md Fahim Hasan" userId="92968fce-d4dd-4b9e-8635-66a07c9f98a7" providerId="ADAL" clId="{3A6F4128-6482-4C75-8C7D-220A75826C22}" dt="2023-07-20T19:29:16.310" v="9750" actId="1076"/>
          <ac:spMkLst>
            <pc:docMk/>
            <pc:sldMk cId="1373699450" sldId="259"/>
            <ac:spMk id="15" creationId="{3C5E509B-1B50-82FD-877E-DF1A82BB7B4C}"/>
          </ac:spMkLst>
        </pc:spChg>
        <pc:spChg chg="add mod">
          <ac:chgData name="Md Fahim Hasan" userId="92968fce-d4dd-4b9e-8635-66a07c9f98a7" providerId="ADAL" clId="{3A6F4128-6482-4C75-8C7D-220A75826C22}" dt="2023-07-20T19:29:07.892" v="9749" actId="1076"/>
          <ac:spMkLst>
            <pc:docMk/>
            <pc:sldMk cId="1373699450" sldId="259"/>
            <ac:spMk id="16" creationId="{6A2F8CDB-E476-7974-94B4-E318E98C579E}"/>
          </ac:spMkLst>
        </pc:spChg>
        <pc:spChg chg="add mod">
          <ac:chgData name="Md Fahim Hasan" userId="92968fce-d4dd-4b9e-8635-66a07c9f98a7" providerId="ADAL" clId="{3A6F4128-6482-4C75-8C7D-220A75826C22}" dt="2023-07-20T19:28:48.852" v="9745" actId="1076"/>
          <ac:spMkLst>
            <pc:docMk/>
            <pc:sldMk cId="1373699450" sldId="259"/>
            <ac:spMk id="17" creationId="{64ACF38C-7BF3-972D-D497-E52192A9321B}"/>
          </ac:spMkLst>
        </pc:spChg>
        <pc:spChg chg="add del">
          <ac:chgData name="Md Fahim Hasan" userId="92968fce-d4dd-4b9e-8635-66a07c9f98a7" providerId="ADAL" clId="{3A6F4128-6482-4C75-8C7D-220A75826C22}" dt="2023-07-20T19:22:57.465" v="9670" actId="26606"/>
          <ac:spMkLst>
            <pc:docMk/>
            <pc:sldMk cId="1373699450" sldId="259"/>
            <ac:spMk id="19" creationId="{A26C624C-963C-4795-B05B-6565DB5ABD39}"/>
          </ac:spMkLst>
        </pc:spChg>
        <pc:spChg chg="add">
          <ac:chgData name="Md Fahim Hasan" userId="92968fce-d4dd-4b9e-8635-66a07c9f98a7" providerId="ADAL" clId="{3A6F4128-6482-4C75-8C7D-220A75826C22}" dt="2023-07-20T19:23:02.623" v="9673" actId="26606"/>
          <ac:spMkLst>
            <pc:docMk/>
            <pc:sldMk cId="1373699450" sldId="259"/>
            <ac:spMk id="30" creationId="{2F4D5922-434B-4829-B93E-02DC38A29519}"/>
          </ac:spMkLst>
        </pc:spChg>
        <pc:spChg chg="add">
          <ac:chgData name="Md Fahim Hasan" userId="92968fce-d4dd-4b9e-8635-66a07c9f98a7" providerId="ADAL" clId="{3A6F4128-6482-4C75-8C7D-220A75826C22}" dt="2023-07-20T19:23:02.623" v="9673" actId="26606"/>
          <ac:spMkLst>
            <pc:docMk/>
            <pc:sldMk cId="1373699450" sldId="259"/>
            <ac:spMk id="36" creationId="{F35FBA24-5C01-4635-A984-1DB6E340B052}"/>
          </ac:spMkLst>
        </pc:spChg>
        <pc:spChg chg="add">
          <ac:chgData name="Md Fahim Hasan" userId="92968fce-d4dd-4b9e-8635-66a07c9f98a7" providerId="ADAL" clId="{3A6F4128-6482-4C75-8C7D-220A75826C22}" dt="2023-07-20T19:23:02.623" v="9673" actId="26606"/>
          <ac:spMkLst>
            <pc:docMk/>
            <pc:sldMk cId="1373699450" sldId="259"/>
            <ac:spMk id="37" creationId="{5819102A-0400-4C1F-8614-973F5262EF56}"/>
          </ac:spMkLst>
        </pc:spChg>
        <pc:spChg chg="add mod">
          <ac:chgData name="Md Fahim Hasan" userId="92968fce-d4dd-4b9e-8635-66a07c9f98a7" providerId="ADAL" clId="{3A6F4128-6482-4C75-8C7D-220A75826C22}" dt="2023-07-20T19:29:34.256" v="9762" actId="1076"/>
          <ac:spMkLst>
            <pc:docMk/>
            <pc:sldMk cId="1373699450" sldId="259"/>
            <ac:spMk id="38" creationId="{DF579EC8-B48B-7DCE-5598-A9D02BEC036C}"/>
          </ac:spMkLst>
        </pc:spChg>
        <pc:spChg chg="add">
          <ac:chgData name="Md Fahim Hasan" userId="92968fce-d4dd-4b9e-8635-66a07c9f98a7" providerId="ADAL" clId="{3A6F4128-6482-4C75-8C7D-220A75826C22}" dt="2023-07-20T19:23:02.623" v="9673" actId="26606"/>
          <ac:spMkLst>
            <pc:docMk/>
            <pc:sldMk cId="1373699450" sldId="259"/>
            <ac:spMk id="45" creationId="{CF1485CA-41D2-421F-B28D-15EF845D5FE6}"/>
          </ac:spMkLst>
        </pc:spChg>
        <pc:grpChg chg="add">
          <ac:chgData name="Md Fahim Hasan" userId="92968fce-d4dd-4b9e-8635-66a07c9f98a7" providerId="ADAL" clId="{3A6F4128-6482-4C75-8C7D-220A75826C22}" dt="2023-07-20T19:23:02.623" v="9673" actId="26606"/>
          <ac:grpSpMkLst>
            <pc:docMk/>
            <pc:sldMk cId="1373699450" sldId="259"/>
            <ac:grpSpMk id="23" creationId="{4008D52E-D5E0-4FB4-B605-C7CB34489056}"/>
          </ac:grpSpMkLst>
        </pc:grpChg>
        <pc:grpChg chg="add">
          <ac:chgData name="Md Fahim Hasan" userId="92968fce-d4dd-4b9e-8635-66a07c9f98a7" providerId="ADAL" clId="{3A6F4128-6482-4C75-8C7D-220A75826C22}" dt="2023-07-20T19:23:02.623" v="9673" actId="26606"/>
          <ac:grpSpMkLst>
            <pc:docMk/>
            <pc:sldMk cId="1373699450" sldId="259"/>
            <ac:grpSpMk id="31" creationId="{B7B4DECA-15C8-4678-96F8-1CA5C3D502E6}"/>
          </ac:grpSpMkLst>
        </pc:grpChg>
        <pc:grpChg chg="add">
          <ac:chgData name="Md Fahim Hasan" userId="92968fce-d4dd-4b9e-8635-66a07c9f98a7" providerId="ADAL" clId="{3A6F4128-6482-4C75-8C7D-220A75826C22}" dt="2023-07-20T19:23:02.623" v="9673" actId="26606"/>
          <ac:grpSpMkLst>
            <pc:docMk/>
            <pc:sldMk cId="1373699450" sldId="259"/>
            <ac:grpSpMk id="39" creationId="{B1A0CF5C-68C2-4432-BC2D-5A124C7B6043}"/>
          </ac:grpSpMkLst>
        </pc:grpChg>
        <pc:grpChg chg="add">
          <ac:chgData name="Md Fahim Hasan" userId="92968fce-d4dd-4b9e-8635-66a07c9f98a7" providerId="ADAL" clId="{3A6F4128-6482-4C75-8C7D-220A75826C22}" dt="2023-07-20T19:23:02.623" v="9673" actId="26606"/>
          <ac:grpSpMkLst>
            <pc:docMk/>
            <pc:sldMk cId="1373699450" sldId="259"/>
            <ac:grpSpMk id="47" creationId="{04ED96A1-E6CA-493F-8610-6B8B7A28E3EB}"/>
          </ac:grpSpMkLst>
        </pc:grpChg>
        <pc:picChg chg="add del">
          <ac:chgData name="Md Fahim Hasan" userId="92968fce-d4dd-4b9e-8635-66a07c9f98a7" providerId="ADAL" clId="{3A6F4128-6482-4C75-8C7D-220A75826C22}" dt="2023-07-20T19:18:03.295" v="9657" actId="478"/>
          <ac:picMkLst>
            <pc:docMk/>
            <pc:sldMk cId="1373699450" sldId="259"/>
            <ac:picMk id="6" creationId="{ED6BDE0D-B7F3-5C57-291E-B9E2B53F06DB}"/>
          </ac:picMkLst>
        </pc:picChg>
        <pc:picChg chg="add mod ord">
          <ac:chgData name="Md Fahim Hasan" userId="92968fce-d4dd-4b9e-8635-66a07c9f98a7" providerId="ADAL" clId="{3A6F4128-6482-4C75-8C7D-220A75826C22}" dt="2023-07-20T19:29:16.310" v="9750" actId="1076"/>
          <ac:picMkLst>
            <pc:docMk/>
            <pc:sldMk cId="1373699450" sldId="259"/>
            <ac:picMk id="8" creationId="{53418779-EB83-62E7-330C-11D82F4FB1BA}"/>
          </ac:picMkLst>
        </pc:picChg>
        <pc:picChg chg="add mod">
          <ac:chgData name="Md Fahim Hasan" userId="92968fce-d4dd-4b9e-8635-66a07c9f98a7" providerId="ADAL" clId="{3A6F4128-6482-4C75-8C7D-220A75826C22}" dt="2023-07-20T19:28:12.722" v="9722" actId="1076"/>
          <ac:picMkLst>
            <pc:docMk/>
            <pc:sldMk cId="1373699450" sldId="259"/>
            <ac:picMk id="10" creationId="{7D8CD268-78BD-8AC8-5D91-9D34C6BC856F}"/>
          </ac:picMkLst>
        </pc:picChg>
        <pc:picChg chg="add mod">
          <ac:chgData name="Md Fahim Hasan" userId="92968fce-d4dd-4b9e-8635-66a07c9f98a7" providerId="ADAL" clId="{3A6F4128-6482-4C75-8C7D-220A75826C22}" dt="2023-07-20T19:28:12.722" v="9722" actId="1076"/>
          <ac:picMkLst>
            <pc:docMk/>
            <pc:sldMk cId="1373699450" sldId="259"/>
            <ac:picMk id="12" creationId="{5DC52CAF-009F-0F2E-6D18-9CEF6CEE2A05}"/>
          </ac:picMkLst>
        </pc:picChg>
        <pc:picChg chg="add mod ord">
          <ac:chgData name="Md Fahim Hasan" userId="92968fce-d4dd-4b9e-8635-66a07c9f98a7" providerId="ADAL" clId="{3A6F4128-6482-4C75-8C7D-220A75826C22}" dt="2023-07-20T19:29:07.892" v="9749" actId="1076"/>
          <ac:picMkLst>
            <pc:docMk/>
            <pc:sldMk cId="1373699450" sldId="259"/>
            <ac:picMk id="14" creationId="{F3003A44-D40C-5E74-726F-5E1CDD0BC22C}"/>
          </ac:picMkLst>
        </pc:picChg>
        <pc:picChg chg="add del mod">
          <ac:chgData name="Md Fahim Hasan" userId="92968fce-d4dd-4b9e-8635-66a07c9f98a7" providerId="ADAL" clId="{3A6F4128-6482-4C75-8C7D-220A75826C22}" dt="2023-07-20T19:27:59.025" v="9720" actId="478"/>
          <ac:picMkLst>
            <pc:docMk/>
            <pc:sldMk cId="1373699450" sldId="259"/>
            <ac:picMk id="20" creationId="{CB503C35-4537-BB06-ED4E-11E4E7BEF4AF}"/>
          </ac:picMkLst>
        </pc:picChg>
        <pc:picChg chg="add del mod">
          <ac:chgData name="Md Fahim Hasan" userId="92968fce-d4dd-4b9e-8635-66a07c9f98a7" providerId="ADAL" clId="{3A6F4128-6482-4C75-8C7D-220A75826C22}" dt="2023-07-20T19:28:44.231" v="9744" actId="478"/>
          <ac:picMkLst>
            <pc:docMk/>
            <pc:sldMk cId="1373699450" sldId="259"/>
            <ac:picMk id="22" creationId="{11CE3659-C1D6-D53A-E6A7-428290056A34}"/>
          </ac:picMkLst>
        </pc:picChg>
        <pc:cxnChg chg="add del">
          <ac:chgData name="Md Fahim Hasan" userId="92968fce-d4dd-4b9e-8635-66a07c9f98a7" providerId="ADAL" clId="{3A6F4128-6482-4C75-8C7D-220A75826C22}" dt="2023-07-20T19:23:02.609" v="9672" actId="26606"/>
          <ac:cxnSpMkLst>
            <pc:docMk/>
            <pc:sldMk cId="1373699450" sldId="259"/>
            <ac:cxnSpMk id="21" creationId="{33FC4C9A-7760-08E3-AE1B-B5EBEC35F96C}"/>
          </ac:cxnSpMkLst>
        </pc:cxnChg>
      </pc:sldChg>
      <pc:sldChg chg="addSp delSp modSp mod delCm modCm">
        <pc:chgData name="Md Fahim Hasan" userId="92968fce-d4dd-4b9e-8635-66a07c9f98a7" providerId="ADAL" clId="{3A6F4128-6482-4C75-8C7D-220A75826C22}" dt="2023-07-27T15:51:58.279" v="35706"/>
        <pc:sldMkLst>
          <pc:docMk/>
          <pc:sldMk cId="4056719616" sldId="2146846337"/>
        </pc:sldMkLst>
        <pc:spChg chg="mod">
          <ac:chgData name="Md Fahim Hasan" userId="92968fce-d4dd-4b9e-8635-66a07c9f98a7" providerId="ADAL" clId="{3A6F4128-6482-4C75-8C7D-220A75826C22}" dt="2023-07-27T15:51:58.279" v="35706"/>
          <ac:spMkLst>
            <pc:docMk/>
            <pc:sldMk cId="4056719616" sldId="2146846337"/>
            <ac:spMk id="2" creationId="{9226B3AE-7380-1F6C-697A-E9637435E60D}"/>
          </ac:spMkLst>
        </pc:spChg>
        <pc:spChg chg="del">
          <ac:chgData name="Md Fahim Hasan" userId="92968fce-d4dd-4b9e-8635-66a07c9f98a7" providerId="ADAL" clId="{3A6F4128-6482-4C75-8C7D-220A75826C22}" dt="2023-07-21T15:15:22.210" v="10156" actId="478"/>
          <ac:spMkLst>
            <pc:docMk/>
            <pc:sldMk cId="4056719616" sldId="2146846337"/>
            <ac:spMk id="3" creationId="{3ACEEEF4-B14A-AA4F-8119-DDD2F2C82E21}"/>
          </ac:spMkLst>
        </pc:spChg>
        <pc:spChg chg="add mod">
          <ac:chgData name="Md Fahim Hasan" userId="92968fce-d4dd-4b9e-8635-66a07c9f98a7" providerId="ADAL" clId="{3A6F4128-6482-4C75-8C7D-220A75826C22}" dt="2023-07-25T21:23:03.894" v="21193" actId="1076"/>
          <ac:spMkLst>
            <pc:docMk/>
            <pc:sldMk cId="4056719616" sldId="2146846337"/>
            <ac:spMk id="4" creationId="{FD0EF38E-D7C0-8E63-A04B-1205873730B2}"/>
          </ac:spMkLst>
        </pc:spChg>
        <pc:spChg chg="add mod">
          <ac:chgData name="Md Fahim Hasan" userId="92968fce-d4dd-4b9e-8635-66a07c9f98a7" providerId="ADAL" clId="{3A6F4128-6482-4C75-8C7D-220A75826C22}" dt="2023-07-25T21:27:05.374" v="21233" actId="164"/>
          <ac:spMkLst>
            <pc:docMk/>
            <pc:sldMk cId="4056719616" sldId="2146846337"/>
            <ac:spMk id="6" creationId="{FAD07682-E61D-F63A-2D0E-D6CB339D623A}"/>
          </ac:spMkLst>
        </pc:spChg>
        <pc:spChg chg="mod">
          <ac:chgData name="Md Fahim Hasan" userId="92968fce-d4dd-4b9e-8635-66a07c9f98a7" providerId="ADAL" clId="{3A6F4128-6482-4C75-8C7D-220A75826C22}" dt="2023-07-25T21:23:04.223" v="21194" actId="14100"/>
          <ac:spMkLst>
            <pc:docMk/>
            <pc:sldMk cId="4056719616" sldId="2146846337"/>
            <ac:spMk id="10" creationId="{F6E243F7-F258-1A63-610D-FF7CD8668613}"/>
          </ac:spMkLst>
        </pc:spChg>
        <pc:spChg chg="mod">
          <ac:chgData name="Md Fahim Hasan" userId="92968fce-d4dd-4b9e-8635-66a07c9f98a7" providerId="ADAL" clId="{3A6F4128-6482-4C75-8C7D-220A75826C22}" dt="2023-07-25T21:28:00.330" v="21237" actId="1076"/>
          <ac:spMkLst>
            <pc:docMk/>
            <pc:sldMk cId="4056719616" sldId="2146846337"/>
            <ac:spMk id="12" creationId="{4B44160A-35FD-F0D1-8CB5-8BC0B618E421}"/>
          </ac:spMkLst>
        </pc:spChg>
        <pc:spChg chg="add mod">
          <ac:chgData name="Md Fahim Hasan" userId="92968fce-d4dd-4b9e-8635-66a07c9f98a7" providerId="ADAL" clId="{3A6F4128-6482-4C75-8C7D-220A75826C22}" dt="2023-07-25T21:28:09.090" v="21239" actId="1076"/>
          <ac:spMkLst>
            <pc:docMk/>
            <pc:sldMk cId="4056719616" sldId="2146846337"/>
            <ac:spMk id="13" creationId="{D2E8F959-A480-C597-DD32-378E99CD7A2C}"/>
          </ac:spMkLst>
        </pc:spChg>
        <pc:grpChg chg="add del mod">
          <ac:chgData name="Md Fahim Hasan" userId="92968fce-d4dd-4b9e-8635-66a07c9f98a7" providerId="ADAL" clId="{3A6F4128-6482-4C75-8C7D-220A75826C22}" dt="2023-07-25T21:28:11.003" v="21240" actId="478"/>
          <ac:grpSpMkLst>
            <pc:docMk/>
            <pc:sldMk cId="4056719616" sldId="2146846337"/>
            <ac:grpSpMk id="7" creationId="{A8C9048A-F0C7-41A4-B952-772062A0EF25}"/>
          </ac:grpSpMkLst>
        </pc:grpChg>
        <pc:picChg chg="add mod">
          <ac:chgData name="Md Fahim Hasan" userId="92968fce-d4dd-4b9e-8635-66a07c9f98a7" providerId="ADAL" clId="{3A6F4128-6482-4C75-8C7D-220A75826C22}" dt="2023-07-25T21:27:05.374" v="21233" actId="164"/>
          <ac:picMkLst>
            <pc:docMk/>
            <pc:sldMk cId="4056719616" sldId="2146846337"/>
            <ac:picMk id="5" creationId="{41FB168F-9F1E-29DF-CD87-BC5E7A154ECD}"/>
          </ac:picMkLst>
        </pc:picChg>
        <pc:picChg chg="add mod">
          <ac:chgData name="Md Fahim Hasan" userId="92968fce-d4dd-4b9e-8635-66a07c9f98a7" providerId="ADAL" clId="{3A6F4128-6482-4C75-8C7D-220A75826C22}" dt="2023-07-25T21:27:53.774" v="21235" actId="1076"/>
          <ac:picMkLst>
            <pc:docMk/>
            <pc:sldMk cId="4056719616" sldId="2146846337"/>
            <ac:picMk id="8" creationId="{92A438D3-297D-DDD8-9B6E-2B42DB4D6F67}"/>
          </ac:picMkLst>
        </pc:picChg>
        <pc:picChg chg="mod">
          <ac:chgData name="Md Fahim Hasan" userId="92968fce-d4dd-4b9e-8635-66a07c9f98a7" providerId="ADAL" clId="{3A6F4128-6482-4C75-8C7D-220A75826C22}" dt="2023-07-25T21:26:22.443" v="21231" actId="1076"/>
          <ac:picMkLst>
            <pc:docMk/>
            <pc:sldMk cId="4056719616" sldId="2146846337"/>
            <ac:picMk id="11" creationId="{C71F36C9-62E2-BE13-D383-44EC0D0F1953}"/>
          </ac:picMkLst>
        </pc:picChg>
      </pc:sldChg>
      <pc:sldChg chg="del">
        <pc:chgData name="Md Fahim Hasan" userId="92968fce-d4dd-4b9e-8635-66a07c9f98a7" providerId="ADAL" clId="{3A6F4128-6482-4C75-8C7D-220A75826C22}" dt="2023-07-18T17:25:56.985" v="4139" actId="47"/>
        <pc:sldMkLst>
          <pc:docMk/>
          <pc:sldMk cId="630555002" sldId="2146846380"/>
        </pc:sldMkLst>
      </pc:sldChg>
      <pc:sldChg chg="del">
        <pc:chgData name="Md Fahim Hasan" userId="92968fce-d4dd-4b9e-8635-66a07c9f98a7" providerId="ADAL" clId="{3A6F4128-6482-4C75-8C7D-220A75826C22}" dt="2023-07-18T17:25:57.975" v="4140" actId="47"/>
        <pc:sldMkLst>
          <pc:docMk/>
          <pc:sldMk cId="2262878493" sldId="2146846381"/>
        </pc:sldMkLst>
      </pc:sldChg>
      <pc:sldChg chg="addSp delSp modSp mod delDesignElem">
        <pc:chgData name="Md Fahim Hasan" userId="92968fce-d4dd-4b9e-8635-66a07c9f98a7" providerId="ADAL" clId="{3A6F4128-6482-4C75-8C7D-220A75826C22}" dt="2023-07-27T20:40:10.234" v="38065" actId="20577"/>
        <pc:sldMkLst>
          <pc:docMk/>
          <pc:sldMk cId="592699982" sldId="2146846382"/>
        </pc:sldMkLst>
        <pc:spChg chg="mod">
          <ac:chgData name="Md Fahim Hasan" userId="92968fce-d4dd-4b9e-8635-66a07c9f98a7" providerId="ADAL" clId="{3A6F4128-6482-4C75-8C7D-220A75826C22}" dt="2023-07-27T15:51:58.279" v="35706"/>
          <ac:spMkLst>
            <pc:docMk/>
            <pc:sldMk cId="592699982" sldId="2146846382"/>
            <ac:spMk id="2" creationId="{50D7F7E2-05E6-E2B8-455A-1E18E17C21ED}"/>
          </ac:spMkLst>
        </pc:spChg>
        <pc:spChg chg="add mod ord">
          <ac:chgData name="Md Fahim Hasan" userId="92968fce-d4dd-4b9e-8635-66a07c9f98a7" providerId="ADAL" clId="{3A6F4128-6482-4C75-8C7D-220A75826C22}" dt="2023-07-27T15:57:07.816" v="35742" actId="167"/>
          <ac:spMkLst>
            <pc:docMk/>
            <pc:sldMk cId="592699982" sldId="2146846382"/>
            <ac:spMk id="3" creationId="{13F62010-37D9-C1F3-FE48-1F9FC4001FF9}"/>
          </ac:spMkLst>
        </pc:spChg>
        <pc:spChg chg="del">
          <ac:chgData name="Md Fahim Hasan" userId="92968fce-d4dd-4b9e-8635-66a07c9f98a7" providerId="ADAL" clId="{3A6F4128-6482-4C75-8C7D-220A75826C22}" dt="2023-07-21T15:15:25.391" v="10157" actId="478"/>
          <ac:spMkLst>
            <pc:docMk/>
            <pc:sldMk cId="592699982" sldId="2146846382"/>
            <ac:spMk id="3" creationId="{3ACEEEF4-B14A-AA4F-8119-DDD2F2C82E21}"/>
          </ac:spMkLst>
        </pc:spChg>
        <pc:spChg chg="mod">
          <ac:chgData name="Md Fahim Hasan" userId="92968fce-d4dd-4b9e-8635-66a07c9f98a7" providerId="ADAL" clId="{3A6F4128-6482-4C75-8C7D-220A75826C22}" dt="2023-07-27T20:40:10.234" v="38065" actId="20577"/>
          <ac:spMkLst>
            <pc:docMk/>
            <pc:sldMk cId="592699982" sldId="2146846382"/>
            <ac:spMk id="5" creationId="{6B0E3D4A-AE11-4EEE-47A3-F08F39D0D674}"/>
          </ac:spMkLst>
        </pc:spChg>
        <pc:spChg chg="mod">
          <ac:chgData name="Md Fahim Hasan" userId="92968fce-d4dd-4b9e-8635-66a07c9f98a7" providerId="ADAL" clId="{3A6F4128-6482-4C75-8C7D-220A75826C22}" dt="2023-07-27T15:57:40.983" v="35752" actId="1076"/>
          <ac:spMkLst>
            <pc:docMk/>
            <pc:sldMk cId="592699982" sldId="2146846382"/>
            <ac:spMk id="9" creationId="{DCE765C9-F866-A10C-05BC-B0F5CF7D4FA9}"/>
          </ac:spMkLst>
        </pc:spChg>
        <pc:spChg chg="del">
          <ac:chgData name="Md Fahim Hasan" userId="92968fce-d4dd-4b9e-8635-66a07c9f98a7" providerId="ADAL" clId="{3A6F4128-6482-4C75-8C7D-220A75826C22}" dt="2023-07-27T15:51:58.279" v="35706"/>
          <ac:spMkLst>
            <pc:docMk/>
            <pc:sldMk cId="592699982" sldId="2146846382"/>
            <ac:spMk id="14" creationId="{17718681-A12E-49D6-9925-DD7C68176D61}"/>
          </ac:spMkLst>
        </pc:spChg>
        <pc:spChg chg="del">
          <ac:chgData name="Md Fahim Hasan" userId="92968fce-d4dd-4b9e-8635-66a07c9f98a7" providerId="ADAL" clId="{3A6F4128-6482-4C75-8C7D-220A75826C22}" dt="2023-07-27T15:51:58.279" v="35706"/>
          <ac:spMkLst>
            <pc:docMk/>
            <pc:sldMk cId="592699982" sldId="2146846382"/>
            <ac:spMk id="16" creationId="{FBD77573-9EF2-4C35-8285-A1CF6FBB0EA5}"/>
          </ac:spMkLst>
        </pc:spChg>
        <pc:picChg chg="add mod">
          <ac:chgData name="Md Fahim Hasan" userId="92968fce-d4dd-4b9e-8635-66a07c9f98a7" providerId="ADAL" clId="{3A6F4128-6482-4C75-8C7D-220A75826C22}" dt="2023-07-27T15:57:27.214" v="35747"/>
          <ac:picMkLst>
            <pc:docMk/>
            <pc:sldMk cId="592699982" sldId="2146846382"/>
            <ac:picMk id="4" creationId="{A6D044A4-BBE0-F9D4-D169-45AA3B58918D}"/>
          </ac:picMkLst>
        </pc:picChg>
        <pc:picChg chg="del mod">
          <ac:chgData name="Md Fahim Hasan" userId="92968fce-d4dd-4b9e-8635-66a07c9f98a7" providerId="ADAL" clId="{3A6F4128-6482-4C75-8C7D-220A75826C22}" dt="2023-07-27T15:53:17.744" v="35717" actId="478"/>
          <ac:picMkLst>
            <pc:docMk/>
            <pc:sldMk cId="592699982" sldId="2146846382"/>
            <ac:picMk id="15" creationId="{B0F7B2C1-02FD-AB52-1E28-5A1C0EE1123A}"/>
          </ac:picMkLst>
        </pc:picChg>
      </pc:sldChg>
      <pc:sldChg chg="addSp delSp modSp mod ord delAnim modAnim delCm modCm modNotesTx">
        <pc:chgData name="Md Fahim Hasan" userId="92968fce-d4dd-4b9e-8635-66a07c9f98a7" providerId="ADAL" clId="{3A6F4128-6482-4C75-8C7D-220A75826C22}" dt="2023-07-27T20:41:50.222" v="38088" actId="20577"/>
        <pc:sldMkLst>
          <pc:docMk/>
          <pc:sldMk cId="3666602129" sldId="2146846383"/>
        </pc:sldMkLst>
        <pc:spChg chg="del">
          <ac:chgData name="Md Fahim Hasan" userId="92968fce-d4dd-4b9e-8635-66a07c9f98a7" providerId="ADAL" clId="{3A6F4128-6482-4C75-8C7D-220A75826C22}" dt="2023-07-21T15:15:15.733" v="10155" actId="478"/>
          <ac:spMkLst>
            <pc:docMk/>
            <pc:sldMk cId="3666602129" sldId="2146846383"/>
            <ac:spMk id="3" creationId="{3ACEEEF4-B14A-AA4F-8119-DDD2F2C82E21}"/>
          </ac:spMkLst>
        </pc:spChg>
        <pc:spChg chg="add mod">
          <ac:chgData name="Md Fahim Hasan" userId="92968fce-d4dd-4b9e-8635-66a07c9f98a7" providerId="ADAL" clId="{3A6F4128-6482-4C75-8C7D-220A75826C22}" dt="2023-07-27T20:41:17.337" v="38078" actId="1076"/>
          <ac:spMkLst>
            <pc:docMk/>
            <pc:sldMk cId="3666602129" sldId="2146846383"/>
            <ac:spMk id="3" creationId="{47362F07-4913-5AB4-655D-190F6C4B7BB8}"/>
          </ac:spMkLst>
        </pc:spChg>
        <pc:spChg chg="mod">
          <ac:chgData name="Md Fahim Hasan" userId="92968fce-d4dd-4b9e-8635-66a07c9f98a7" providerId="ADAL" clId="{3A6F4128-6482-4C75-8C7D-220A75826C22}" dt="2023-07-27T15:51:58.279" v="35706"/>
          <ac:spMkLst>
            <pc:docMk/>
            <pc:sldMk cId="3666602129" sldId="2146846383"/>
            <ac:spMk id="4" creationId="{6CE70B44-3ABA-966C-1037-341F0E51DA50}"/>
          </ac:spMkLst>
        </pc:spChg>
        <pc:spChg chg="del mod">
          <ac:chgData name="Md Fahim Hasan" userId="92968fce-d4dd-4b9e-8635-66a07c9f98a7" providerId="ADAL" clId="{3A6F4128-6482-4C75-8C7D-220A75826C22}" dt="2023-07-21T19:17:19.485" v="12122" actId="478"/>
          <ac:spMkLst>
            <pc:docMk/>
            <pc:sldMk cId="3666602129" sldId="2146846383"/>
            <ac:spMk id="5" creationId="{6B0E3D4A-AE11-4EEE-47A3-F08F39D0D674}"/>
          </ac:spMkLst>
        </pc:spChg>
        <pc:spChg chg="mod">
          <ac:chgData name="Md Fahim Hasan" userId="92968fce-d4dd-4b9e-8635-66a07c9f98a7" providerId="ADAL" clId="{3A6F4128-6482-4C75-8C7D-220A75826C22}" dt="2023-07-27T20:40:51.790" v="38074" actId="1076"/>
          <ac:spMkLst>
            <pc:docMk/>
            <pc:sldMk cId="3666602129" sldId="2146846383"/>
            <ac:spMk id="8" creationId="{B6129EBB-5BBC-0496-43B1-E5DD89BBC166}"/>
          </ac:spMkLst>
        </pc:spChg>
        <pc:spChg chg="mod">
          <ac:chgData name="Md Fahim Hasan" userId="92968fce-d4dd-4b9e-8635-66a07c9f98a7" providerId="ADAL" clId="{3A6F4128-6482-4C75-8C7D-220A75826C22}" dt="2023-07-25T18:44:08.454" v="18925" actId="1076"/>
          <ac:spMkLst>
            <pc:docMk/>
            <pc:sldMk cId="3666602129" sldId="2146846383"/>
            <ac:spMk id="9" creationId="{DCE765C9-F866-A10C-05BC-B0F5CF7D4FA9}"/>
          </ac:spMkLst>
        </pc:spChg>
        <pc:spChg chg="add mod">
          <ac:chgData name="Md Fahim Hasan" userId="92968fce-d4dd-4b9e-8635-66a07c9f98a7" providerId="ADAL" clId="{3A6F4128-6482-4C75-8C7D-220A75826C22}" dt="2023-07-25T18:43:20.031" v="18909" actId="1076"/>
          <ac:spMkLst>
            <pc:docMk/>
            <pc:sldMk cId="3666602129" sldId="2146846383"/>
            <ac:spMk id="10" creationId="{FD2BE369-0164-20DF-CE48-AEBDAC58B505}"/>
          </ac:spMkLst>
        </pc:spChg>
        <pc:spChg chg="mod">
          <ac:chgData name="Md Fahim Hasan" userId="92968fce-d4dd-4b9e-8635-66a07c9f98a7" providerId="ADAL" clId="{3A6F4128-6482-4C75-8C7D-220A75826C22}" dt="2023-07-27T20:41:26.597" v="38081" actId="1076"/>
          <ac:spMkLst>
            <pc:docMk/>
            <pc:sldMk cId="3666602129" sldId="2146846383"/>
            <ac:spMk id="14" creationId="{B9F5EBE5-BF4F-6602-E462-2A211297793D}"/>
          </ac:spMkLst>
        </pc:spChg>
        <pc:grpChg chg="add mod">
          <ac:chgData name="Md Fahim Hasan" userId="92968fce-d4dd-4b9e-8635-66a07c9f98a7" providerId="ADAL" clId="{3A6F4128-6482-4C75-8C7D-220A75826C22}" dt="2023-07-25T18:42:52.611" v="18907" actId="1076"/>
          <ac:grpSpMkLst>
            <pc:docMk/>
            <pc:sldMk cId="3666602129" sldId="2146846383"/>
            <ac:grpSpMk id="11" creationId="{A0E860F0-76C5-0E31-CEEB-C002D6CBA973}"/>
          </ac:grpSpMkLst>
        </pc:grpChg>
        <pc:graphicFrameChg chg="mod">
          <ac:chgData name="Md Fahim Hasan" userId="92968fce-d4dd-4b9e-8635-66a07c9f98a7" providerId="ADAL" clId="{3A6F4128-6482-4C75-8C7D-220A75826C22}" dt="2023-07-27T20:40:59.395" v="38076" actId="1076"/>
          <ac:graphicFrameMkLst>
            <pc:docMk/>
            <pc:sldMk cId="3666602129" sldId="2146846383"/>
            <ac:graphicFrameMk id="15" creationId="{A1F61D02-76F0-6BAF-2680-6342F5A3100A}"/>
          </ac:graphicFrameMkLst>
        </pc:graphicFrameChg>
        <pc:picChg chg="mod">
          <ac:chgData name="Md Fahim Hasan" userId="92968fce-d4dd-4b9e-8635-66a07c9f98a7" providerId="ADAL" clId="{3A6F4128-6482-4C75-8C7D-220A75826C22}" dt="2023-07-27T20:40:54.494" v="38075" actId="1076"/>
          <ac:picMkLst>
            <pc:docMk/>
            <pc:sldMk cId="3666602129" sldId="2146846383"/>
            <ac:picMk id="2" creationId="{DF1611CB-1404-889A-3365-5AD7BC3A9770}"/>
          </ac:picMkLst>
        </pc:picChg>
        <pc:picChg chg="add del mod">
          <ac:chgData name="Md Fahim Hasan" userId="92968fce-d4dd-4b9e-8635-66a07c9f98a7" providerId="ADAL" clId="{3A6F4128-6482-4C75-8C7D-220A75826C22}" dt="2023-07-26T21:32:31.613" v="30758" actId="478"/>
          <ac:picMkLst>
            <pc:docMk/>
            <pc:sldMk cId="3666602129" sldId="2146846383"/>
            <ac:picMk id="6" creationId="{3D4B72DA-83E3-1427-A66F-4D9F6154FFD7}"/>
          </ac:picMkLst>
        </pc:picChg>
        <pc:cxnChg chg="add del mod">
          <ac:chgData name="Md Fahim Hasan" userId="92968fce-d4dd-4b9e-8635-66a07c9f98a7" providerId="ADAL" clId="{3A6F4128-6482-4C75-8C7D-220A75826C22}" dt="2023-07-25T18:38:50.997" v="18829" actId="478"/>
          <ac:cxnSpMkLst>
            <pc:docMk/>
            <pc:sldMk cId="3666602129" sldId="2146846383"/>
            <ac:cxnSpMk id="5" creationId="{2DB12273-C846-5081-22CC-3B884B8E9EFF}"/>
          </ac:cxnSpMkLst>
        </pc:cxnChg>
      </pc:sldChg>
      <pc:sldChg chg="addSp delSp modSp mod ord delAnim modAnim">
        <pc:chgData name="Md Fahim Hasan" userId="92968fce-d4dd-4b9e-8635-66a07c9f98a7" providerId="ADAL" clId="{3A6F4128-6482-4C75-8C7D-220A75826C22}" dt="2023-07-27T15:51:58.279" v="35706"/>
        <pc:sldMkLst>
          <pc:docMk/>
          <pc:sldMk cId="382852834" sldId="2146846384"/>
        </pc:sldMkLst>
        <pc:spChg chg="mod">
          <ac:chgData name="Md Fahim Hasan" userId="92968fce-d4dd-4b9e-8635-66a07c9f98a7" providerId="ADAL" clId="{3A6F4128-6482-4C75-8C7D-220A75826C22}" dt="2023-07-27T15:51:58.279" v="35706"/>
          <ac:spMkLst>
            <pc:docMk/>
            <pc:sldMk cId="382852834" sldId="2146846384"/>
            <ac:spMk id="2" creationId="{6D7FCBD6-1C98-E9CE-93C6-53AC8BC673C5}"/>
          </ac:spMkLst>
        </pc:spChg>
        <pc:spChg chg="del">
          <ac:chgData name="Md Fahim Hasan" userId="92968fce-d4dd-4b9e-8635-66a07c9f98a7" providerId="ADAL" clId="{3A6F4128-6482-4C75-8C7D-220A75826C22}" dt="2023-07-17T21:11:04.748" v="2" actId="478"/>
          <ac:spMkLst>
            <pc:docMk/>
            <pc:sldMk cId="382852834" sldId="2146846384"/>
            <ac:spMk id="3" creationId="{3ACEEEF4-B14A-AA4F-8119-DDD2F2C82E21}"/>
          </ac:spMkLst>
        </pc:spChg>
        <pc:spChg chg="add mod">
          <ac:chgData name="Md Fahim Hasan" userId="92968fce-d4dd-4b9e-8635-66a07c9f98a7" providerId="ADAL" clId="{3A6F4128-6482-4C75-8C7D-220A75826C22}" dt="2023-07-21T22:03:40.575" v="13025" actId="12"/>
          <ac:spMkLst>
            <pc:docMk/>
            <pc:sldMk cId="382852834" sldId="2146846384"/>
            <ac:spMk id="3" creationId="{7575AD2E-83F9-2C5A-1724-4025F6CB666E}"/>
          </ac:spMkLst>
        </pc:spChg>
        <pc:spChg chg="del mod">
          <ac:chgData name="Md Fahim Hasan" userId="92968fce-d4dd-4b9e-8635-66a07c9f98a7" providerId="ADAL" clId="{3A6F4128-6482-4C75-8C7D-220A75826C22}" dt="2023-07-21T21:53:54.769" v="12874" actId="478"/>
          <ac:spMkLst>
            <pc:docMk/>
            <pc:sldMk cId="382852834" sldId="2146846384"/>
            <ac:spMk id="4" creationId="{6E725962-AA6E-3764-10EC-09E349BF7BE0}"/>
          </ac:spMkLst>
        </pc:spChg>
        <pc:spChg chg="add mod">
          <ac:chgData name="Md Fahim Hasan" userId="92968fce-d4dd-4b9e-8635-66a07c9f98a7" providerId="ADAL" clId="{3A6F4128-6482-4C75-8C7D-220A75826C22}" dt="2023-07-21T21:55:33.071" v="12899" actId="14100"/>
          <ac:spMkLst>
            <pc:docMk/>
            <pc:sldMk cId="382852834" sldId="2146846384"/>
            <ac:spMk id="5" creationId="{640410B1-D6C8-6AE2-5E39-F609BCCB3287}"/>
          </ac:spMkLst>
        </pc:spChg>
        <pc:spChg chg="add mod">
          <ac:chgData name="Md Fahim Hasan" userId="92968fce-d4dd-4b9e-8635-66a07c9f98a7" providerId="ADAL" clId="{3A6F4128-6482-4C75-8C7D-220A75826C22}" dt="2023-07-21T21:55:43.978" v="12912" actId="14100"/>
          <ac:spMkLst>
            <pc:docMk/>
            <pc:sldMk cId="382852834" sldId="2146846384"/>
            <ac:spMk id="6" creationId="{9F9A0ECC-BAEC-B095-EED1-369C2A0B7EDA}"/>
          </ac:spMkLst>
        </pc:spChg>
        <pc:spChg chg="add mod">
          <ac:chgData name="Md Fahim Hasan" userId="92968fce-d4dd-4b9e-8635-66a07c9f98a7" providerId="ADAL" clId="{3A6F4128-6482-4C75-8C7D-220A75826C22}" dt="2023-07-21T21:56:13.152" v="12938" actId="1076"/>
          <ac:spMkLst>
            <pc:docMk/>
            <pc:sldMk cId="382852834" sldId="2146846384"/>
            <ac:spMk id="7" creationId="{B015396B-6D4A-2C99-FB34-AA10AE533509}"/>
          </ac:spMkLst>
        </pc:spChg>
        <pc:spChg chg="add mod">
          <ac:chgData name="Md Fahim Hasan" userId="92968fce-d4dd-4b9e-8635-66a07c9f98a7" providerId="ADAL" clId="{3A6F4128-6482-4C75-8C7D-220A75826C22}" dt="2023-07-21T21:56:44.134" v="12943" actId="1076"/>
          <ac:spMkLst>
            <pc:docMk/>
            <pc:sldMk cId="382852834" sldId="2146846384"/>
            <ac:spMk id="8" creationId="{CF231785-6F05-269A-2F8C-2DB42C31F01A}"/>
          </ac:spMkLst>
        </pc:spChg>
        <pc:spChg chg="mod">
          <ac:chgData name="Md Fahim Hasan" userId="92968fce-d4dd-4b9e-8635-66a07c9f98a7" providerId="ADAL" clId="{3A6F4128-6482-4C75-8C7D-220A75826C22}" dt="2023-07-17T21:22:54.506" v="528" actId="6549"/>
          <ac:spMkLst>
            <pc:docMk/>
            <pc:sldMk cId="382852834" sldId="2146846384"/>
            <ac:spMk id="9" creationId="{DCE765C9-F866-A10C-05BC-B0F5CF7D4FA9}"/>
          </ac:spMkLst>
        </pc:spChg>
        <pc:spChg chg="add mod">
          <ac:chgData name="Md Fahim Hasan" userId="92968fce-d4dd-4b9e-8635-66a07c9f98a7" providerId="ADAL" clId="{3A6F4128-6482-4C75-8C7D-220A75826C22}" dt="2023-07-21T21:57:26.453" v="12959" actId="1076"/>
          <ac:spMkLst>
            <pc:docMk/>
            <pc:sldMk cId="382852834" sldId="2146846384"/>
            <ac:spMk id="11" creationId="{4F9B9796-B12D-713F-746A-4DCA952B9304}"/>
          </ac:spMkLst>
        </pc:spChg>
        <pc:spChg chg="add del">
          <ac:chgData name="Md Fahim Hasan" userId="92968fce-d4dd-4b9e-8635-66a07c9f98a7" providerId="ADAL" clId="{3A6F4128-6482-4C75-8C7D-220A75826C22}" dt="2023-07-21T22:01:47.047" v="12972" actId="22"/>
          <ac:spMkLst>
            <pc:docMk/>
            <pc:sldMk cId="382852834" sldId="2146846384"/>
            <ac:spMk id="13" creationId="{2FF2589D-86C5-1B75-7B66-780265726430}"/>
          </ac:spMkLst>
        </pc:spChg>
        <pc:spChg chg="add mod">
          <ac:chgData name="Md Fahim Hasan" userId="92968fce-d4dd-4b9e-8635-66a07c9f98a7" providerId="ADAL" clId="{3A6F4128-6482-4C75-8C7D-220A75826C22}" dt="2023-07-21T22:01:53.893" v="12977" actId="20577"/>
          <ac:spMkLst>
            <pc:docMk/>
            <pc:sldMk cId="382852834" sldId="2146846384"/>
            <ac:spMk id="14" creationId="{38F4F4CD-DAF6-1AE9-31D8-3409B0EF1425}"/>
          </ac:spMkLst>
        </pc:spChg>
        <pc:spChg chg="add mod">
          <ac:chgData name="Md Fahim Hasan" userId="92968fce-d4dd-4b9e-8635-66a07c9f98a7" providerId="ADAL" clId="{3A6F4128-6482-4C75-8C7D-220A75826C22}" dt="2023-07-21T22:28:15.484" v="13467" actId="1076"/>
          <ac:spMkLst>
            <pc:docMk/>
            <pc:sldMk cId="382852834" sldId="2146846384"/>
            <ac:spMk id="15" creationId="{B7F74B15-FDF2-1E28-12D1-C3D9C93B4BAF}"/>
          </ac:spMkLst>
        </pc:spChg>
        <pc:spChg chg="del">
          <ac:chgData name="Md Fahim Hasan" userId="92968fce-d4dd-4b9e-8635-66a07c9f98a7" providerId="ADAL" clId="{3A6F4128-6482-4C75-8C7D-220A75826C22}" dt="2023-07-17T21:11:01.435" v="1" actId="478"/>
          <ac:spMkLst>
            <pc:docMk/>
            <pc:sldMk cId="382852834" sldId="2146846384"/>
            <ac:spMk id="48" creationId="{15E99825-C9AC-1D6E-A93B-EE359DEB615C}"/>
          </ac:spMkLst>
        </pc:spChg>
        <pc:spChg chg="del">
          <ac:chgData name="Md Fahim Hasan" userId="92968fce-d4dd-4b9e-8635-66a07c9f98a7" providerId="ADAL" clId="{3A6F4128-6482-4C75-8C7D-220A75826C22}" dt="2023-07-17T21:11:04.748" v="2" actId="478"/>
          <ac:spMkLst>
            <pc:docMk/>
            <pc:sldMk cId="382852834" sldId="2146846384"/>
            <ac:spMk id="51" creationId="{F0B8A31B-42FA-0224-8592-5D33531B2824}"/>
          </ac:spMkLst>
        </pc:spChg>
        <pc:spChg chg="add mod">
          <ac:chgData name="Md Fahim Hasan" userId="92968fce-d4dd-4b9e-8635-66a07c9f98a7" providerId="ADAL" clId="{3A6F4128-6482-4C75-8C7D-220A75826C22}" dt="2023-07-21T22:03:48.035" v="13026" actId="12"/>
          <ac:spMkLst>
            <pc:docMk/>
            <pc:sldMk cId="382852834" sldId="2146846384"/>
            <ac:spMk id="58" creationId="{477A9370-4EB7-D4FB-9C49-64212593232B}"/>
          </ac:spMkLst>
        </pc:spChg>
        <pc:spChg chg="add mod">
          <ac:chgData name="Md Fahim Hasan" userId="92968fce-d4dd-4b9e-8635-66a07c9f98a7" providerId="ADAL" clId="{3A6F4128-6482-4C75-8C7D-220A75826C22}" dt="2023-07-21T22:03:48.035" v="13026" actId="12"/>
          <ac:spMkLst>
            <pc:docMk/>
            <pc:sldMk cId="382852834" sldId="2146846384"/>
            <ac:spMk id="59" creationId="{90B4C7A6-1146-A4F7-F58B-CF1A5B25CD55}"/>
          </ac:spMkLst>
        </pc:spChg>
        <pc:spChg chg="add mod">
          <ac:chgData name="Md Fahim Hasan" userId="92968fce-d4dd-4b9e-8635-66a07c9f98a7" providerId="ADAL" clId="{3A6F4128-6482-4C75-8C7D-220A75826C22}" dt="2023-07-21T22:06:16.175" v="13041" actId="207"/>
          <ac:spMkLst>
            <pc:docMk/>
            <pc:sldMk cId="382852834" sldId="2146846384"/>
            <ac:spMk id="62" creationId="{6ACC9BD9-0A30-22E4-1AAE-B7B60C0DD078}"/>
          </ac:spMkLst>
        </pc:spChg>
        <pc:spChg chg="add mod">
          <ac:chgData name="Md Fahim Hasan" userId="92968fce-d4dd-4b9e-8635-66a07c9f98a7" providerId="ADAL" clId="{3A6F4128-6482-4C75-8C7D-220A75826C22}" dt="2023-07-21T22:06:16.175" v="13041" actId="207"/>
          <ac:spMkLst>
            <pc:docMk/>
            <pc:sldMk cId="382852834" sldId="2146846384"/>
            <ac:spMk id="63" creationId="{15AC1DFF-5986-2F03-33B5-C89C2ADF3A4F}"/>
          </ac:spMkLst>
        </pc:spChg>
        <pc:spChg chg="add mod">
          <ac:chgData name="Md Fahim Hasan" userId="92968fce-d4dd-4b9e-8635-66a07c9f98a7" providerId="ADAL" clId="{3A6F4128-6482-4C75-8C7D-220A75826C22}" dt="2023-07-21T22:32:42.801" v="13572" actId="207"/>
          <ac:spMkLst>
            <pc:docMk/>
            <pc:sldMk cId="382852834" sldId="2146846384"/>
            <ac:spMk id="67" creationId="{3D57C913-D685-7FBB-DAC9-D663C4A11301}"/>
          </ac:spMkLst>
        </pc:spChg>
        <pc:spChg chg="add mod">
          <ac:chgData name="Md Fahim Hasan" userId="92968fce-d4dd-4b9e-8635-66a07c9f98a7" providerId="ADAL" clId="{3A6F4128-6482-4C75-8C7D-220A75826C22}" dt="2023-07-21T22:03:48.035" v="13026" actId="12"/>
          <ac:spMkLst>
            <pc:docMk/>
            <pc:sldMk cId="382852834" sldId="2146846384"/>
            <ac:spMk id="68" creationId="{60A3FB28-B2FC-8C9E-D8BB-40907E553639}"/>
          </ac:spMkLst>
        </pc:spChg>
        <pc:spChg chg="add mod">
          <ac:chgData name="Md Fahim Hasan" userId="92968fce-d4dd-4b9e-8635-66a07c9f98a7" providerId="ADAL" clId="{3A6F4128-6482-4C75-8C7D-220A75826C22}" dt="2023-07-21T22:07:01.822" v="13044" actId="14100"/>
          <ac:spMkLst>
            <pc:docMk/>
            <pc:sldMk cId="382852834" sldId="2146846384"/>
            <ac:spMk id="69" creationId="{1F2244A3-95C7-B48D-A6EF-2490C551608A}"/>
          </ac:spMkLst>
        </pc:spChg>
        <pc:spChg chg="add mod">
          <ac:chgData name="Md Fahim Hasan" userId="92968fce-d4dd-4b9e-8635-66a07c9f98a7" providerId="ADAL" clId="{3A6F4128-6482-4C75-8C7D-220A75826C22}" dt="2023-07-21T21:56:04.275" v="12923" actId="20577"/>
          <ac:spMkLst>
            <pc:docMk/>
            <pc:sldMk cId="382852834" sldId="2146846384"/>
            <ac:spMk id="70" creationId="{7599C1EA-8875-C4A1-8903-9D62F4FB0D5A}"/>
          </ac:spMkLst>
        </pc:spChg>
        <pc:spChg chg="add mod">
          <ac:chgData name="Md Fahim Hasan" userId="92968fce-d4dd-4b9e-8635-66a07c9f98a7" providerId="ADAL" clId="{3A6F4128-6482-4C75-8C7D-220A75826C22}" dt="2023-07-17T21:43:55.950" v="1121" actId="208"/>
          <ac:spMkLst>
            <pc:docMk/>
            <pc:sldMk cId="382852834" sldId="2146846384"/>
            <ac:spMk id="71" creationId="{F4202240-684A-A638-AB60-5BAEB293E7D2}"/>
          </ac:spMkLst>
        </pc:spChg>
        <pc:spChg chg="mod topLvl">
          <ac:chgData name="Md Fahim Hasan" userId="92968fce-d4dd-4b9e-8635-66a07c9f98a7" providerId="ADAL" clId="{3A6F4128-6482-4C75-8C7D-220A75826C22}" dt="2023-07-21T22:04:41.438" v="13032" actId="165"/>
          <ac:spMkLst>
            <pc:docMk/>
            <pc:sldMk cId="382852834" sldId="2146846384"/>
            <ac:spMk id="74" creationId="{EF460FF9-A7A4-B7B8-D81A-DD54DBA43839}"/>
          </ac:spMkLst>
        </pc:spChg>
        <pc:spChg chg="mod topLvl">
          <ac:chgData name="Md Fahim Hasan" userId="92968fce-d4dd-4b9e-8635-66a07c9f98a7" providerId="ADAL" clId="{3A6F4128-6482-4C75-8C7D-220A75826C22}" dt="2023-07-21T22:04:41.438" v="13032" actId="165"/>
          <ac:spMkLst>
            <pc:docMk/>
            <pc:sldMk cId="382852834" sldId="2146846384"/>
            <ac:spMk id="75" creationId="{8416AE51-D388-A4C7-CAA1-7EBB934E90A5}"/>
          </ac:spMkLst>
        </pc:spChg>
        <pc:spChg chg="mod">
          <ac:chgData name="Md Fahim Hasan" userId="92968fce-d4dd-4b9e-8635-66a07c9f98a7" providerId="ADAL" clId="{3A6F4128-6482-4C75-8C7D-220A75826C22}" dt="2023-07-17T21:41:42.903" v="1089"/>
          <ac:spMkLst>
            <pc:docMk/>
            <pc:sldMk cId="382852834" sldId="2146846384"/>
            <ac:spMk id="77" creationId="{E12DC08A-BD51-D12A-A46E-A00DCC75C9CA}"/>
          </ac:spMkLst>
        </pc:spChg>
        <pc:spChg chg="mod">
          <ac:chgData name="Md Fahim Hasan" userId="92968fce-d4dd-4b9e-8635-66a07c9f98a7" providerId="ADAL" clId="{3A6F4128-6482-4C75-8C7D-220A75826C22}" dt="2023-07-17T21:42:07.632" v="1096" actId="1035"/>
          <ac:spMkLst>
            <pc:docMk/>
            <pc:sldMk cId="382852834" sldId="2146846384"/>
            <ac:spMk id="78" creationId="{49850E5A-08AC-04AF-A46E-EDEFF2029092}"/>
          </ac:spMkLst>
        </pc:spChg>
        <pc:spChg chg="add mod">
          <ac:chgData name="Md Fahim Hasan" userId="92968fce-d4dd-4b9e-8635-66a07c9f98a7" providerId="ADAL" clId="{3A6F4128-6482-4C75-8C7D-220A75826C22}" dt="2023-07-21T21:57:09.295" v="12953" actId="1076"/>
          <ac:spMkLst>
            <pc:docMk/>
            <pc:sldMk cId="382852834" sldId="2146846384"/>
            <ac:spMk id="83" creationId="{B389E4F6-61CA-0F42-BB36-6871F0F4FDCF}"/>
          </ac:spMkLst>
        </pc:spChg>
        <pc:spChg chg="add mod">
          <ac:chgData name="Md Fahim Hasan" userId="92968fce-d4dd-4b9e-8635-66a07c9f98a7" providerId="ADAL" clId="{3A6F4128-6482-4C75-8C7D-220A75826C22}" dt="2023-07-21T22:03:13.362" v="13023" actId="403"/>
          <ac:spMkLst>
            <pc:docMk/>
            <pc:sldMk cId="382852834" sldId="2146846384"/>
            <ac:spMk id="84" creationId="{1EF420AB-027C-90AF-CD6B-38191B3E36BD}"/>
          </ac:spMkLst>
        </pc:spChg>
        <pc:grpChg chg="del">
          <ac:chgData name="Md Fahim Hasan" userId="92968fce-d4dd-4b9e-8635-66a07c9f98a7" providerId="ADAL" clId="{3A6F4128-6482-4C75-8C7D-220A75826C22}" dt="2023-07-17T21:11:04.748" v="2" actId="478"/>
          <ac:grpSpMkLst>
            <pc:docMk/>
            <pc:sldMk cId="382852834" sldId="2146846384"/>
            <ac:grpSpMk id="54" creationId="{BB036D7E-F778-81C0-0B79-7BED73A349C2}"/>
          </ac:grpSpMkLst>
        </pc:grpChg>
        <pc:grpChg chg="del">
          <ac:chgData name="Md Fahim Hasan" userId="92968fce-d4dd-4b9e-8635-66a07c9f98a7" providerId="ADAL" clId="{3A6F4128-6482-4C75-8C7D-220A75826C22}" dt="2023-07-17T21:11:04.748" v="2" actId="478"/>
          <ac:grpSpMkLst>
            <pc:docMk/>
            <pc:sldMk cId="382852834" sldId="2146846384"/>
            <ac:grpSpMk id="55" creationId="{CEC16733-1ABE-46CA-52CB-ECABAFEA4AB2}"/>
          </ac:grpSpMkLst>
        </pc:grpChg>
        <pc:grpChg chg="add mod">
          <ac:chgData name="Md Fahim Hasan" userId="92968fce-d4dd-4b9e-8635-66a07c9f98a7" providerId="ADAL" clId="{3A6F4128-6482-4C75-8C7D-220A75826C22}" dt="2023-07-21T21:54:06.676" v="12875" actId="1076"/>
          <ac:grpSpMkLst>
            <pc:docMk/>
            <pc:sldMk cId="382852834" sldId="2146846384"/>
            <ac:grpSpMk id="72" creationId="{28935246-43A0-D9B5-F806-50679A7F07D6}"/>
          </ac:grpSpMkLst>
        </pc:grpChg>
        <pc:grpChg chg="add del mod">
          <ac:chgData name="Md Fahim Hasan" userId="92968fce-d4dd-4b9e-8635-66a07c9f98a7" providerId="ADAL" clId="{3A6F4128-6482-4C75-8C7D-220A75826C22}" dt="2023-07-21T22:04:41.438" v="13032" actId="165"/>
          <ac:grpSpMkLst>
            <pc:docMk/>
            <pc:sldMk cId="382852834" sldId="2146846384"/>
            <ac:grpSpMk id="73" creationId="{351E3220-30A9-87D2-A09B-07BFC262DB00}"/>
          </ac:grpSpMkLst>
        </pc:grpChg>
        <pc:grpChg chg="add del mod">
          <ac:chgData name="Md Fahim Hasan" userId="92968fce-d4dd-4b9e-8635-66a07c9f98a7" providerId="ADAL" clId="{3A6F4128-6482-4C75-8C7D-220A75826C22}" dt="2023-07-17T21:42:09.730" v="1097" actId="478"/>
          <ac:grpSpMkLst>
            <pc:docMk/>
            <pc:sldMk cId="382852834" sldId="2146846384"/>
            <ac:grpSpMk id="76" creationId="{8056314D-7175-6C76-418F-89FD42CBB3BB}"/>
          </ac:grpSpMkLst>
        </pc:grpChg>
        <pc:graphicFrameChg chg="add del mod modGraphic">
          <ac:chgData name="Md Fahim Hasan" userId="92968fce-d4dd-4b9e-8635-66a07c9f98a7" providerId="ADAL" clId="{3A6F4128-6482-4C75-8C7D-220A75826C22}" dt="2023-07-17T21:12:25.560" v="46" actId="478"/>
          <ac:graphicFrameMkLst>
            <pc:docMk/>
            <pc:sldMk cId="382852834" sldId="2146846384"/>
            <ac:graphicFrameMk id="57" creationId="{3673AF8C-EE81-1C6F-E846-293E16D9154B}"/>
          </ac:graphicFrameMkLst>
        </pc:graphicFrameChg>
        <pc:cxnChg chg="del mod">
          <ac:chgData name="Md Fahim Hasan" userId="92968fce-d4dd-4b9e-8635-66a07c9f98a7" providerId="ADAL" clId="{3A6F4128-6482-4C75-8C7D-220A75826C22}" dt="2023-07-17T21:11:04.748" v="2" actId="478"/>
          <ac:cxnSpMkLst>
            <pc:docMk/>
            <pc:sldMk cId="382852834" sldId="2146846384"/>
            <ac:cxnSpMk id="50" creationId="{9D61E925-395E-6D9C-EFC3-81B44599AF0F}"/>
          </ac:cxnSpMkLst>
        </pc:cxnChg>
        <pc:cxnChg chg="add mod">
          <ac:chgData name="Md Fahim Hasan" userId="92968fce-d4dd-4b9e-8635-66a07c9f98a7" providerId="ADAL" clId="{3A6F4128-6482-4C75-8C7D-220A75826C22}" dt="2023-07-21T21:54:06.676" v="12875" actId="1076"/>
          <ac:cxnSpMkLst>
            <pc:docMk/>
            <pc:sldMk cId="382852834" sldId="2146846384"/>
            <ac:cxnSpMk id="61" creationId="{36FD637E-E67B-7D24-5C59-101BCC9B20B1}"/>
          </ac:cxnSpMkLst>
        </pc:cxnChg>
        <pc:cxnChg chg="add mod">
          <ac:chgData name="Md Fahim Hasan" userId="92968fce-d4dd-4b9e-8635-66a07c9f98a7" providerId="ADAL" clId="{3A6F4128-6482-4C75-8C7D-220A75826C22}" dt="2023-07-21T21:56:51.367" v="12944" actId="1076"/>
          <ac:cxnSpMkLst>
            <pc:docMk/>
            <pc:sldMk cId="382852834" sldId="2146846384"/>
            <ac:cxnSpMk id="64" creationId="{F8C37DCD-1BE8-D3DD-E51D-F73EC3236D8D}"/>
          </ac:cxnSpMkLst>
        </pc:cxnChg>
        <pc:cxnChg chg="add mod">
          <ac:chgData name="Md Fahim Hasan" userId="92968fce-d4dd-4b9e-8635-66a07c9f98a7" providerId="ADAL" clId="{3A6F4128-6482-4C75-8C7D-220A75826C22}" dt="2023-07-21T22:03:29.871" v="13024" actId="14100"/>
          <ac:cxnSpMkLst>
            <pc:docMk/>
            <pc:sldMk cId="382852834" sldId="2146846384"/>
            <ac:cxnSpMk id="79" creationId="{687AEA25-50B3-782B-E1A4-FE0011FDE576}"/>
          </ac:cxnSpMkLst>
        </pc:cxnChg>
        <pc:cxnChg chg="add mod">
          <ac:chgData name="Md Fahim Hasan" userId="92968fce-d4dd-4b9e-8635-66a07c9f98a7" providerId="ADAL" clId="{3A6F4128-6482-4C75-8C7D-220A75826C22}" dt="2023-07-21T21:54:06.676" v="12875" actId="1076"/>
          <ac:cxnSpMkLst>
            <pc:docMk/>
            <pc:sldMk cId="382852834" sldId="2146846384"/>
            <ac:cxnSpMk id="81" creationId="{B0FA33D4-5E5F-92B5-C3F6-D67E1F0E9F89}"/>
          </ac:cxnSpMkLst>
        </pc:cxnChg>
      </pc:sldChg>
      <pc:sldChg chg="addSp delSp modSp add mod ord modAnim modNotesTx">
        <pc:chgData name="Md Fahim Hasan" userId="92968fce-d4dd-4b9e-8635-66a07c9f98a7" providerId="ADAL" clId="{3A6F4128-6482-4C75-8C7D-220A75826C22}" dt="2023-07-27T15:51:58.279" v="35706"/>
        <pc:sldMkLst>
          <pc:docMk/>
          <pc:sldMk cId="268688356" sldId="2146846385"/>
        </pc:sldMkLst>
        <pc:spChg chg="add mod">
          <ac:chgData name="Md Fahim Hasan" userId="92968fce-d4dd-4b9e-8635-66a07c9f98a7" providerId="ADAL" clId="{3A6F4128-6482-4C75-8C7D-220A75826C22}" dt="2023-07-26T23:58:03.225" v="31458" actId="27636"/>
          <ac:spMkLst>
            <pc:docMk/>
            <pc:sldMk cId="268688356" sldId="2146846385"/>
            <ac:spMk id="2" creationId="{C8283E70-F220-0EF3-63D9-8EACFDCC07A6}"/>
          </ac:spMkLst>
        </pc:spChg>
        <pc:spChg chg="del">
          <ac:chgData name="Md Fahim Hasan" userId="92968fce-d4dd-4b9e-8635-66a07c9f98a7" providerId="ADAL" clId="{3A6F4128-6482-4C75-8C7D-220A75826C22}" dt="2023-07-21T15:15:33.070" v="10158" actId="478"/>
          <ac:spMkLst>
            <pc:docMk/>
            <pc:sldMk cId="268688356" sldId="2146846385"/>
            <ac:spMk id="3" creationId="{3ACEEEF4-B14A-AA4F-8119-DDD2F2C82E21}"/>
          </ac:spMkLst>
        </pc:spChg>
        <pc:spChg chg="mod">
          <ac:chgData name="Md Fahim Hasan" userId="92968fce-d4dd-4b9e-8635-66a07c9f98a7" providerId="ADAL" clId="{3A6F4128-6482-4C75-8C7D-220A75826C22}" dt="2023-07-26T23:57:30.657" v="31454" actId="20577"/>
          <ac:spMkLst>
            <pc:docMk/>
            <pc:sldMk cId="268688356" sldId="2146846385"/>
            <ac:spMk id="4" creationId="{6E725962-AA6E-3764-10EC-09E349BF7BE0}"/>
          </ac:spMkLst>
        </pc:spChg>
        <pc:spChg chg="add mod">
          <ac:chgData name="Md Fahim Hasan" userId="92968fce-d4dd-4b9e-8635-66a07c9f98a7" providerId="ADAL" clId="{3A6F4128-6482-4C75-8C7D-220A75826C22}" dt="2023-07-26T14:53:51.684" v="21399" actId="1036"/>
          <ac:spMkLst>
            <pc:docMk/>
            <pc:sldMk cId="268688356" sldId="2146846385"/>
            <ac:spMk id="5" creationId="{78336494-07A2-AFEF-44BC-F6BB3B326DA1}"/>
          </ac:spMkLst>
        </pc:spChg>
        <pc:spChg chg="add mod">
          <ac:chgData name="Md Fahim Hasan" userId="92968fce-d4dd-4b9e-8635-66a07c9f98a7" providerId="ADAL" clId="{3A6F4128-6482-4C75-8C7D-220A75826C22}" dt="2023-07-27T14:21:57.775" v="34743" actId="20577"/>
          <ac:spMkLst>
            <pc:docMk/>
            <pc:sldMk cId="268688356" sldId="2146846385"/>
            <ac:spMk id="6" creationId="{02E82B1F-8C1E-18D3-20EF-F680A1F852F8}"/>
          </ac:spMkLst>
        </pc:spChg>
        <pc:spChg chg="mod">
          <ac:chgData name="Md Fahim Hasan" userId="92968fce-d4dd-4b9e-8635-66a07c9f98a7" providerId="ADAL" clId="{3A6F4128-6482-4C75-8C7D-220A75826C22}" dt="2023-07-27T15:51:58.279" v="35706"/>
          <ac:spMkLst>
            <pc:docMk/>
            <pc:sldMk cId="268688356" sldId="2146846385"/>
            <ac:spMk id="8" creationId="{CB0C19E4-1189-79AC-0F7A-7BEC20992E77}"/>
          </ac:spMkLst>
        </pc:spChg>
        <pc:spChg chg="mod">
          <ac:chgData name="Md Fahim Hasan" userId="92968fce-d4dd-4b9e-8635-66a07c9f98a7" providerId="ADAL" clId="{3A6F4128-6482-4C75-8C7D-220A75826C22}" dt="2023-07-17T21:20:13.227" v="422" actId="20577"/>
          <ac:spMkLst>
            <pc:docMk/>
            <pc:sldMk cId="268688356" sldId="2146846385"/>
            <ac:spMk id="9" creationId="{DCE765C9-F866-A10C-05BC-B0F5CF7D4FA9}"/>
          </ac:spMkLst>
        </pc:spChg>
        <pc:spChg chg="mod">
          <ac:chgData name="Md Fahim Hasan" userId="92968fce-d4dd-4b9e-8635-66a07c9f98a7" providerId="ADAL" clId="{3A6F4128-6482-4C75-8C7D-220A75826C22}" dt="2023-07-21T21:37:28.045" v="12602" actId="14826"/>
          <ac:spMkLst>
            <pc:docMk/>
            <pc:sldMk cId="268688356" sldId="2146846385"/>
            <ac:spMk id="12" creationId="{48DBBE49-ED73-2254-0BE5-A295569002D1}"/>
          </ac:spMkLst>
        </pc:spChg>
        <pc:spChg chg="mod">
          <ac:chgData name="Md Fahim Hasan" userId="92968fce-d4dd-4b9e-8635-66a07c9f98a7" providerId="ADAL" clId="{3A6F4128-6482-4C75-8C7D-220A75826C22}" dt="2023-07-21T21:37:35.730" v="12603" actId="14826"/>
          <ac:spMkLst>
            <pc:docMk/>
            <pc:sldMk cId="268688356" sldId="2146846385"/>
            <ac:spMk id="13" creationId="{ED40BAEA-6059-01BF-513C-63213A436B11}"/>
          </ac:spMkLst>
        </pc:spChg>
        <pc:spChg chg="mod">
          <ac:chgData name="Md Fahim Hasan" userId="92968fce-d4dd-4b9e-8635-66a07c9f98a7" providerId="ADAL" clId="{3A6F4128-6482-4C75-8C7D-220A75826C22}" dt="2023-07-21T21:37:28.045" v="12602" actId="14826"/>
          <ac:spMkLst>
            <pc:docMk/>
            <pc:sldMk cId="268688356" sldId="2146846385"/>
            <ac:spMk id="16" creationId="{C730CBBA-5438-1BB7-FC3E-835A799152A0}"/>
          </ac:spMkLst>
        </pc:spChg>
        <pc:spChg chg="mod">
          <ac:chgData name="Md Fahim Hasan" userId="92968fce-d4dd-4b9e-8635-66a07c9f98a7" providerId="ADAL" clId="{3A6F4128-6482-4C75-8C7D-220A75826C22}" dt="2023-07-21T21:37:28.045" v="12602" actId="14826"/>
          <ac:spMkLst>
            <pc:docMk/>
            <pc:sldMk cId="268688356" sldId="2146846385"/>
            <ac:spMk id="23" creationId="{F6272827-6FD3-C491-ECC5-616854B9DA40}"/>
          </ac:spMkLst>
        </pc:spChg>
        <pc:spChg chg="mod">
          <ac:chgData name="Md Fahim Hasan" userId="92968fce-d4dd-4b9e-8635-66a07c9f98a7" providerId="ADAL" clId="{3A6F4128-6482-4C75-8C7D-220A75826C22}" dt="2023-07-21T21:37:28.045" v="12602" actId="14826"/>
          <ac:spMkLst>
            <pc:docMk/>
            <pc:sldMk cId="268688356" sldId="2146846385"/>
            <ac:spMk id="24" creationId="{892028F1-03AC-5FA8-36F5-F9D01ABDD6FF}"/>
          </ac:spMkLst>
        </pc:spChg>
        <pc:spChg chg="add mod">
          <ac:chgData name="Md Fahim Hasan" userId="92968fce-d4dd-4b9e-8635-66a07c9f98a7" providerId="ADAL" clId="{3A6F4128-6482-4C75-8C7D-220A75826C22}" dt="2023-07-21T21:48:17.371" v="12768" actId="164"/>
          <ac:spMkLst>
            <pc:docMk/>
            <pc:sldMk cId="268688356" sldId="2146846385"/>
            <ac:spMk id="25" creationId="{6DE7AC48-BFBE-6DB8-F329-F8493A883501}"/>
          </ac:spMkLst>
        </pc:spChg>
        <pc:spChg chg="add del mod">
          <ac:chgData name="Md Fahim Hasan" userId="92968fce-d4dd-4b9e-8635-66a07c9f98a7" providerId="ADAL" clId="{3A6F4128-6482-4C75-8C7D-220A75826C22}" dt="2023-07-26T18:05:21.152" v="22893" actId="14100"/>
          <ac:spMkLst>
            <pc:docMk/>
            <pc:sldMk cId="268688356" sldId="2146846385"/>
            <ac:spMk id="32" creationId="{396805B4-5D00-3916-0629-59FE4F96CC1D}"/>
          </ac:spMkLst>
        </pc:spChg>
        <pc:spChg chg="mod">
          <ac:chgData name="Md Fahim Hasan" userId="92968fce-d4dd-4b9e-8635-66a07c9f98a7" providerId="ADAL" clId="{3A6F4128-6482-4C75-8C7D-220A75826C22}" dt="2023-07-26T18:05:41.224" v="22918" actId="1076"/>
          <ac:spMkLst>
            <pc:docMk/>
            <pc:sldMk cId="268688356" sldId="2146846385"/>
            <ac:spMk id="35" creationId="{892304CE-0573-15AF-4177-D11426B8D75D}"/>
          </ac:spMkLst>
        </pc:spChg>
        <pc:spChg chg="mod">
          <ac:chgData name="Md Fahim Hasan" userId="92968fce-d4dd-4b9e-8635-66a07c9f98a7" providerId="ADAL" clId="{3A6F4128-6482-4C75-8C7D-220A75826C22}" dt="2023-07-26T18:06:09.644" v="22922" actId="1076"/>
          <ac:spMkLst>
            <pc:docMk/>
            <pc:sldMk cId="268688356" sldId="2146846385"/>
            <ac:spMk id="36" creationId="{EFBE61BD-D473-5ED1-C858-519CD9430199}"/>
          </ac:spMkLst>
        </pc:spChg>
        <pc:spChg chg="mod">
          <ac:chgData name="Md Fahim Hasan" userId="92968fce-d4dd-4b9e-8635-66a07c9f98a7" providerId="ADAL" clId="{3A6F4128-6482-4C75-8C7D-220A75826C22}" dt="2023-07-26T21:39:18.921" v="30759" actId="14100"/>
          <ac:spMkLst>
            <pc:docMk/>
            <pc:sldMk cId="268688356" sldId="2146846385"/>
            <ac:spMk id="48" creationId="{15E99825-C9AC-1D6E-A93B-EE359DEB615C}"/>
          </ac:spMkLst>
        </pc:spChg>
        <pc:spChg chg="mod">
          <ac:chgData name="Md Fahim Hasan" userId="92968fce-d4dd-4b9e-8635-66a07c9f98a7" providerId="ADAL" clId="{3A6F4128-6482-4C75-8C7D-220A75826C22}" dt="2023-07-26T22:37:29.724" v="30873" actId="1076"/>
          <ac:spMkLst>
            <pc:docMk/>
            <pc:sldMk cId="268688356" sldId="2146846385"/>
            <ac:spMk id="51" creationId="{F0B8A31B-42FA-0224-8592-5D33531B2824}"/>
          </ac:spMkLst>
        </pc:spChg>
        <pc:grpChg chg="add mod">
          <ac:chgData name="Md Fahim Hasan" userId="92968fce-d4dd-4b9e-8635-66a07c9f98a7" providerId="ADAL" clId="{3A6F4128-6482-4C75-8C7D-220A75826C22}" dt="2023-07-26T14:53:51.684" v="21399" actId="1036"/>
          <ac:grpSpMkLst>
            <pc:docMk/>
            <pc:sldMk cId="268688356" sldId="2146846385"/>
            <ac:grpSpMk id="28" creationId="{CF4A64E6-4814-A528-A185-C4967DF9B577}"/>
          </ac:grpSpMkLst>
        </pc:grpChg>
        <pc:grpChg chg="mod">
          <ac:chgData name="Md Fahim Hasan" userId="92968fce-d4dd-4b9e-8635-66a07c9f98a7" providerId="ADAL" clId="{3A6F4128-6482-4C75-8C7D-220A75826C22}" dt="2023-07-26T14:53:51.684" v="21399" actId="1036"/>
          <ac:grpSpMkLst>
            <pc:docMk/>
            <pc:sldMk cId="268688356" sldId="2146846385"/>
            <ac:grpSpMk id="54" creationId="{BB036D7E-F778-81C0-0B79-7BED73A349C2}"/>
          </ac:grpSpMkLst>
        </pc:grpChg>
        <pc:grpChg chg="mod">
          <ac:chgData name="Md Fahim Hasan" userId="92968fce-d4dd-4b9e-8635-66a07c9f98a7" providerId="ADAL" clId="{3A6F4128-6482-4C75-8C7D-220A75826C22}" dt="2023-07-26T14:53:51.684" v="21399" actId="1036"/>
          <ac:grpSpMkLst>
            <pc:docMk/>
            <pc:sldMk cId="268688356" sldId="2146846385"/>
            <ac:grpSpMk id="55" creationId="{CEC16733-1ABE-46CA-52CB-ECABAFEA4AB2}"/>
          </ac:grpSpMkLst>
        </pc:grpChg>
        <pc:picChg chg="mod">
          <ac:chgData name="Md Fahim Hasan" userId="92968fce-d4dd-4b9e-8635-66a07c9f98a7" providerId="ADAL" clId="{3A6F4128-6482-4C75-8C7D-220A75826C22}" dt="2023-07-21T21:37:28.045" v="12602" actId="14826"/>
          <ac:picMkLst>
            <pc:docMk/>
            <pc:sldMk cId="268688356" sldId="2146846385"/>
            <ac:picMk id="7" creationId="{7CB43FD0-7529-53F8-DE4C-8971F32C0E91}"/>
          </ac:picMkLst>
        </pc:picChg>
        <pc:picChg chg="mod">
          <ac:chgData name="Md Fahim Hasan" userId="92968fce-d4dd-4b9e-8635-66a07c9f98a7" providerId="ADAL" clId="{3A6F4128-6482-4C75-8C7D-220A75826C22}" dt="2023-07-21T21:37:35.730" v="12603" actId="14826"/>
          <ac:picMkLst>
            <pc:docMk/>
            <pc:sldMk cId="268688356" sldId="2146846385"/>
            <ac:picMk id="11" creationId="{99001C14-7520-EAB3-55CF-A680DB6371B9}"/>
          </ac:picMkLst>
        </pc:picChg>
        <pc:picChg chg="add mod modCrop">
          <ac:chgData name="Md Fahim Hasan" userId="92968fce-d4dd-4b9e-8635-66a07c9f98a7" providerId="ADAL" clId="{3A6F4128-6482-4C75-8C7D-220A75826C22}" dt="2023-07-21T21:48:17.371" v="12768" actId="164"/>
          <ac:picMkLst>
            <pc:docMk/>
            <pc:sldMk cId="268688356" sldId="2146846385"/>
            <ac:picMk id="22" creationId="{00D24C8B-9622-D661-731F-2D9D96E1D3D5}"/>
          </ac:picMkLst>
        </pc:picChg>
        <pc:cxnChg chg="mod">
          <ac:chgData name="Md Fahim Hasan" userId="92968fce-d4dd-4b9e-8635-66a07c9f98a7" providerId="ADAL" clId="{3A6F4128-6482-4C75-8C7D-220A75826C22}" dt="2023-07-21T21:37:28.045" v="12602" actId="14826"/>
          <ac:cxnSpMkLst>
            <pc:docMk/>
            <pc:sldMk cId="268688356" sldId="2146846385"/>
            <ac:cxnSpMk id="18" creationId="{07513E80-F135-F75D-61DE-762C4E521C01}"/>
          </ac:cxnSpMkLst>
        </pc:cxnChg>
        <pc:cxnChg chg="mod">
          <ac:chgData name="Md Fahim Hasan" userId="92968fce-d4dd-4b9e-8635-66a07c9f98a7" providerId="ADAL" clId="{3A6F4128-6482-4C75-8C7D-220A75826C22}" dt="2023-07-21T21:37:28.045" v="12602" actId="14826"/>
          <ac:cxnSpMkLst>
            <pc:docMk/>
            <pc:sldMk cId="268688356" sldId="2146846385"/>
            <ac:cxnSpMk id="20" creationId="{D9FFD83C-8840-6874-DB1C-744A00C84368}"/>
          </ac:cxnSpMkLst>
        </pc:cxnChg>
        <pc:cxnChg chg="mod">
          <ac:chgData name="Md Fahim Hasan" userId="92968fce-d4dd-4b9e-8635-66a07c9f98a7" providerId="ADAL" clId="{3A6F4128-6482-4C75-8C7D-220A75826C22}" dt="2023-07-21T21:37:49.155" v="12606" actId="14100"/>
          <ac:cxnSpMkLst>
            <pc:docMk/>
            <pc:sldMk cId="268688356" sldId="2146846385"/>
            <ac:cxnSpMk id="26" creationId="{19C52438-EE45-AE90-9EA4-ED6A028292A6}"/>
          </ac:cxnSpMkLst>
        </pc:cxnChg>
        <pc:cxnChg chg="mod">
          <ac:chgData name="Md Fahim Hasan" userId="92968fce-d4dd-4b9e-8635-66a07c9f98a7" providerId="ADAL" clId="{3A6F4128-6482-4C75-8C7D-220A75826C22}" dt="2023-07-21T21:37:46.367" v="12605" actId="14100"/>
          <ac:cxnSpMkLst>
            <pc:docMk/>
            <pc:sldMk cId="268688356" sldId="2146846385"/>
            <ac:cxnSpMk id="27" creationId="{89BC8538-234E-E8A2-4C0F-B973AC20E6EA}"/>
          </ac:cxnSpMkLst>
        </pc:cxnChg>
        <pc:cxnChg chg="mod">
          <ac:chgData name="Md Fahim Hasan" userId="92968fce-d4dd-4b9e-8635-66a07c9f98a7" providerId="ADAL" clId="{3A6F4128-6482-4C75-8C7D-220A75826C22}" dt="2023-07-26T18:05:38.854" v="22917" actId="14100"/>
          <ac:cxnSpMkLst>
            <pc:docMk/>
            <pc:sldMk cId="268688356" sldId="2146846385"/>
            <ac:cxnSpMk id="33" creationId="{C078DE34-47CB-6319-2B6A-A04B4EA24757}"/>
          </ac:cxnSpMkLst>
        </pc:cxnChg>
        <pc:cxnChg chg="mod">
          <ac:chgData name="Md Fahim Hasan" userId="92968fce-d4dd-4b9e-8635-66a07c9f98a7" providerId="ADAL" clId="{3A6F4128-6482-4C75-8C7D-220A75826C22}" dt="2023-07-26T18:06:07.086" v="22921" actId="14100"/>
          <ac:cxnSpMkLst>
            <pc:docMk/>
            <pc:sldMk cId="268688356" sldId="2146846385"/>
            <ac:cxnSpMk id="34" creationId="{5E86880E-E220-4190-F201-7B65AC6F7224}"/>
          </ac:cxnSpMkLst>
        </pc:cxnChg>
        <pc:cxnChg chg="mod">
          <ac:chgData name="Md Fahim Hasan" userId="92968fce-d4dd-4b9e-8635-66a07c9f98a7" providerId="ADAL" clId="{3A6F4128-6482-4C75-8C7D-220A75826C22}" dt="2023-07-21T21:37:57.039" v="12607" actId="14100"/>
          <ac:cxnSpMkLst>
            <pc:docMk/>
            <pc:sldMk cId="268688356" sldId="2146846385"/>
            <ac:cxnSpMk id="37" creationId="{8CE2CF49-69C9-0D19-D608-1B2C09CD0DB2}"/>
          </ac:cxnSpMkLst>
        </pc:cxnChg>
        <pc:cxnChg chg="mod">
          <ac:chgData name="Md Fahim Hasan" userId="92968fce-d4dd-4b9e-8635-66a07c9f98a7" providerId="ADAL" clId="{3A6F4128-6482-4C75-8C7D-220A75826C22}" dt="2023-07-26T18:05:31.073" v="22915" actId="14100"/>
          <ac:cxnSpMkLst>
            <pc:docMk/>
            <pc:sldMk cId="268688356" sldId="2146846385"/>
            <ac:cxnSpMk id="38" creationId="{F854A347-56A4-652E-9941-A303D8B638A2}"/>
          </ac:cxnSpMkLst>
        </pc:cxnChg>
        <pc:cxnChg chg="mod">
          <ac:chgData name="Md Fahim Hasan" userId="92968fce-d4dd-4b9e-8635-66a07c9f98a7" providerId="ADAL" clId="{3A6F4128-6482-4C75-8C7D-220A75826C22}" dt="2023-07-26T22:37:29.724" v="30873" actId="1076"/>
          <ac:cxnSpMkLst>
            <pc:docMk/>
            <pc:sldMk cId="268688356" sldId="2146846385"/>
            <ac:cxnSpMk id="50" creationId="{9D61E925-395E-6D9C-EFC3-81B44599AF0F}"/>
          </ac:cxnSpMkLst>
        </pc:cxnChg>
      </pc:sldChg>
      <pc:sldChg chg="addSp delSp modSp add mod delAnim modAnim modNotesTx">
        <pc:chgData name="Md Fahim Hasan" userId="92968fce-d4dd-4b9e-8635-66a07c9f98a7" providerId="ADAL" clId="{3A6F4128-6482-4C75-8C7D-220A75826C22}" dt="2023-07-27T20:43:48.895" v="38126" actId="20577"/>
        <pc:sldMkLst>
          <pc:docMk/>
          <pc:sldMk cId="3299819554" sldId="2146846386"/>
        </pc:sldMkLst>
        <pc:spChg chg="add del mod">
          <ac:chgData name="Md Fahim Hasan" userId="92968fce-d4dd-4b9e-8635-66a07c9f98a7" providerId="ADAL" clId="{3A6F4128-6482-4C75-8C7D-220A75826C22}" dt="2023-07-21T22:23:05.622" v="13279" actId="478"/>
          <ac:spMkLst>
            <pc:docMk/>
            <pc:sldMk cId="3299819554" sldId="2146846386"/>
            <ac:spMk id="2" creationId="{D423FFAF-9CDC-ACC2-E90E-850A37957BAA}"/>
          </ac:spMkLst>
        </pc:spChg>
        <pc:spChg chg="add del mod">
          <ac:chgData name="Md Fahim Hasan" userId="92968fce-d4dd-4b9e-8635-66a07c9f98a7" providerId="ADAL" clId="{3A6F4128-6482-4C75-8C7D-220A75826C22}" dt="2023-07-21T22:23:05.622" v="13279" actId="478"/>
          <ac:spMkLst>
            <pc:docMk/>
            <pc:sldMk cId="3299819554" sldId="2146846386"/>
            <ac:spMk id="3" creationId="{BBE374DC-2B4D-CC21-509C-1EE76C7459BF}"/>
          </ac:spMkLst>
        </pc:spChg>
        <pc:spChg chg="mod">
          <ac:chgData name="Md Fahim Hasan" userId="92968fce-d4dd-4b9e-8635-66a07c9f98a7" providerId="ADAL" clId="{3A6F4128-6482-4C75-8C7D-220A75826C22}" dt="2023-07-27T20:43:48.895" v="38126" actId="20577"/>
          <ac:spMkLst>
            <pc:docMk/>
            <pc:sldMk cId="3299819554" sldId="2146846386"/>
            <ac:spMk id="4" creationId="{6E725962-AA6E-3764-10EC-09E349BF7BE0}"/>
          </ac:spMkLst>
        </pc:spChg>
        <pc:spChg chg="add del mod">
          <ac:chgData name="Md Fahim Hasan" userId="92968fce-d4dd-4b9e-8635-66a07c9f98a7" providerId="ADAL" clId="{3A6F4128-6482-4C75-8C7D-220A75826C22}" dt="2023-07-21T22:23:05.622" v="13279" actId="478"/>
          <ac:spMkLst>
            <pc:docMk/>
            <pc:sldMk cId="3299819554" sldId="2146846386"/>
            <ac:spMk id="5" creationId="{9F7F57A7-442D-82AB-3AD9-521A308C82AF}"/>
          </ac:spMkLst>
        </pc:spChg>
        <pc:spChg chg="add del mod">
          <ac:chgData name="Md Fahim Hasan" userId="92968fce-d4dd-4b9e-8635-66a07c9f98a7" providerId="ADAL" clId="{3A6F4128-6482-4C75-8C7D-220A75826C22}" dt="2023-07-21T22:23:05.622" v="13279" actId="478"/>
          <ac:spMkLst>
            <pc:docMk/>
            <pc:sldMk cId="3299819554" sldId="2146846386"/>
            <ac:spMk id="6" creationId="{D027ECB3-9E9A-490C-3B18-F9FAFF0F379D}"/>
          </ac:spMkLst>
        </pc:spChg>
        <pc:spChg chg="add del mod">
          <ac:chgData name="Md Fahim Hasan" userId="92968fce-d4dd-4b9e-8635-66a07c9f98a7" providerId="ADAL" clId="{3A6F4128-6482-4C75-8C7D-220A75826C22}" dt="2023-07-21T22:23:05.622" v="13279" actId="478"/>
          <ac:spMkLst>
            <pc:docMk/>
            <pc:sldMk cId="3299819554" sldId="2146846386"/>
            <ac:spMk id="7" creationId="{42710935-B651-FC59-77DA-0FCAAAFDFECA}"/>
          </ac:spMkLst>
        </pc:spChg>
        <pc:spChg chg="add del mod">
          <ac:chgData name="Md Fahim Hasan" userId="92968fce-d4dd-4b9e-8635-66a07c9f98a7" providerId="ADAL" clId="{3A6F4128-6482-4C75-8C7D-220A75826C22}" dt="2023-07-21T22:23:05.622" v="13279" actId="478"/>
          <ac:spMkLst>
            <pc:docMk/>
            <pc:sldMk cId="3299819554" sldId="2146846386"/>
            <ac:spMk id="8" creationId="{A4B40D14-0A2C-A05B-A83A-19A0895929AA}"/>
          </ac:spMkLst>
        </pc:spChg>
        <pc:spChg chg="mod">
          <ac:chgData name="Md Fahim Hasan" userId="92968fce-d4dd-4b9e-8635-66a07c9f98a7" providerId="ADAL" clId="{3A6F4128-6482-4C75-8C7D-220A75826C22}" dt="2023-07-25T16:57:16.635" v="18198" actId="20577"/>
          <ac:spMkLst>
            <pc:docMk/>
            <pc:sldMk cId="3299819554" sldId="2146846386"/>
            <ac:spMk id="9" creationId="{DCE765C9-F866-A10C-05BC-B0F5CF7D4FA9}"/>
          </ac:spMkLst>
        </pc:spChg>
        <pc:spChg chg="add del mod">
          <ac:chgData name="Md Fahim Hasan" userId="92968fce-d4dd-4b9e-8635-66a07c9f98a7" providerId="ADAL" clId="{3A6F4128-6482-4C75-8C7D-220A75826C22}" dt="2023-07-21T22:23:05.622" v="13279" actId="478"/>
          <ac:spMkLst>
            <pc:docMk/>
            <pc:sldMk cId="3299819554" sldId="2146846386"/>
            <ac:spMk id="10" creationId="{2393CE26-9104-47DD-1444-9251A959AAF8}"/>
          </ac:spMkLst>
        </pc:spChg>
        <pc:spChg chg="add del mod">
          <ac:chgData name="Md Fahim Hasan" userId="92968fce-d4dd-4b9e-8635-66a07c9f98a7" providerId="ADAL" clId="{3A6F4128-6482-4C75-8C7D-220A75826C22}" dt="2023-07-21T22:12:50.685" v="13106" actId="478"/>
          <ac:spMkLst>
            <pc:docMk/>
            <pc:sldMk cId="3299819554" sldId="2146846386"/>
            <ac:spMk id="11" creationId="{F1B28E59-0B9B-278C-E28D-0637FBAC6412}"/>
          </ac:spMkLst>
        </pc:spChg>
        <pc:spChg chg="mod">
          <ac:chgData name="Md Fahim Hasan" userId="92968fce-d4dd-4b9e-8635-66a07c9f98a7" providerId="ADAL" clId="{3A6F4128-6482-4C75-8C7D-220A75826C22}" dt="2023-07-27T15:51:58.279" v="35706"/>
          <ac:spMkLst>
            <pc:docMk/>
            <pc:sldMk cId="3299819554" sldId="2146846386"/>
            <ac:spMk id="13" creationId="{3BF66BB4-76B3-B846-B348-5E45C1721294}"/>
          </ac:spMkLst>
        </pc:spChg>
        <pc:spChg chg="add del mod">
          <ac:chgData name="Md Fahim Hasan" userId="92968fce-d4dd-4b9e-8635-66a07c9f98a7" providerId="ADAL" clId="{3A6F4128-6482-4C75-8C7D-220A75826C22}" dt="2023-07-21T22:23:05.622" v="13279" actId="478"/>
          <ac:spMkLst>
            <pc:docMk/>
            <pc:sldMk cId="3299819554" sldId="2146846386"/>
            <ac:spMk id="14" creationId="{1ECF1496-C26E-777C-A1F2-11A012EB99FF}"/>
          </ac:spMkLst>
        </pc:spChg>
        <pc:spChg chg="add del mod">
          <ac:chgData name="Md Fahim Hasan" userId="92968fce-d4dd-4b9e-8635-66a07c9f98a7" providerId="ADAL" clId="{3A6F4128-6482-4C75-8C7D-220A75826C22}" dt="2023-07-21T22:23:05.622" v="13279" actId="478"/>
          <ac:spMkLst>
            <pc:docMk/>
            <pc:sldMk cId="3299819554" sldId="2146846386"/>
            <ac:spMk id="15" creationId="{9E0E1CDE-6703-FD9D-1A66-476619E1C835}"/>
          </ac:spMkLst>
        </pc:spChg>
        <pc:spChg chg="add del mod">
          <ac:chgData name="Md Fahim Hasan" userId="92968fce-d4dd-4b9e-8635-66a07c9f98a7" providerId="ADAL" clId="{3A6F4128-6482-4C75-8C7D-220A75826C22}" dt="2023-07-21T22:23:05.622" v="13279" actId="478"/>
          <ac:spMkLst>
            <pc:docMk/>
            <pc:sldMk cId="3299819554" sldId="2146846386"/>
            <ac:spMk id="16" creationId="{84F5F83C-35E6-5099-E1AF-3CD54D9B2E5D}"/>
          </ac:spMkLst>
        </pc:spChg>
        <pc:spChg chg="add del mod">
          <ac:chgData name="Md Fahim Hasan" userId="92968fce-d4dd-4b9e-8635-66a07c9f98a7" providerId="ADAL" clId="{3A6F4128-6482-4C75-8C7D-220A75826C22}" dt="2023-07-21T22:23:05.622" v="13279" actId="478"/>
          <ac:spMkLst>
            <pc:docMk/>
            <pc:sldMk cId="3299819554" sldId="2146846386"/>
            <ac:spMk id="17" creationId="{312523D9-B3BC-1E8B-706E-D99E9EB5EB72}"/>
          </ac:spMkLst>
        </pc:spChg>
        <pc:spChg chg="add del mod">
          <ac:chgData name="Md Fahim Hasan" userId="92968fce-d4dd-4b9e-8635-66a07c9f98a7" providerId="ADAL" clId="{3A6F4128-6482-4C75-8C7D-220A75826C22}" dt="2023-07-27T18:31:38.196" v="37457" actId="478"/>
          <ac:spMkLst>
            <pc:docMk/>
            <pc:sldMk cId="3299819554" sldId="2146846386"/>
            <ac:spMk id="18" creationId="{8A507235-1B92-EAC1-A69D-302D45A04D50}"/>
          </ac:spMkLst>
        </pc:spChg>
        <pc:spChg chg="add del mod">
          <ac:chgData name="Md Fahim Hasan" userId="92968fce-d4dd-4b9e-8635-66a07c9f98a7" providerId="ADAL" clId="{3A6F4128-6482-4C75-8C7D-220A75826C22}" dt="2023-07-21T22:12:49.472" v="13105" actId="478"/>
          <ac:spMkLst>
            <pc:docMk/>
            <pc:sldMk cId="3299819554" sldId="2146846386"/>
            <ac:spMk id="31" creationId="{D638F26A-003D-635B-8355-36747F8CA29B}"/>
          </ac:spMkLst>
        </pc:spChg>
        <pc:spChg chg="add del mod">
          <ac:chgData name="Md Fahim Hasan" userId="92968fce-d4dd-4b9e-8635-66a07c9f98a7" providerId="ADAL" clId="{3A6F4128-6482-4C75-8C7D-220A75826C22}" dt="2023-07-21T22:23:05.622" v="13279" actId="478"/>
          <ac:spMkLst>
            <pc:docMk/>
            <pc:sldMk cId="3299819554" sldId="2146846386"/>
            <ac:spMk id="41" creationId="{AF888FBF-A457-95EB-8F40-9876975F7B07}"/>
          </ac:spMkLst>
        </pc:spChg>
        <pc:spChg chg="add del mod">
          <ac:chgData name="Md Fahim Hasan" userId="92968fce-d4dd-4b9e-8635-66a07c9f98a7" providerId="ADAL" clId="{3A6F4128-6482-4C75-8C7D-220A75826C22}" dt="2023-07-21T22:23:05.622" v="13279" actId="478"/>
          <ac:spMkLst>
            <pc:docMk/>
            <pc:sldMk cId="3299819554" sldId="2146846386"/>
            <ac:spMk id="49" creationId="{19C589D2-8479-4B0D-4A80-DEFC3E7C4CC5}"/>
          </ac:spMkLst>
        </pc:spChg>
        <pc:spChg chg="del">
          <ac:chgData name="Md Fahim Hasan" userId="92968fce-d4dd-4b9e-8635-66a07c9f98a7" providerId="ADAL" clId="{3A6F4128-6482-4C75-8C7D-220A75826C22}" dt="2023-07-17T21:34:27.168" v="890" actId="478"/>
          <ac:spMkLst>
            <pc:docMk/>
            <pc:sldMk cId="3299819554" sldId="2146846386"/>
            <ac:spMk id="58" creationId="{477A9370-4EB7-D4FB-9C49-64212593232B}"/>
          </ac:spMkLst>
        </pc:spChg>
        <pc:spChg chg="del">
          <ac:chgData name="Md Fahim Hasan" userId="92968fce-d4dd-4b9e-8635-66a07c9f98a7" providerId="ADAL" clId="{3A6F4128-6482-4C75-8C7D-220A75826C22}" dt="2023-07-17T21:34:27.168" v="890" actId="478"/>
          <ac:spMkLst>
            <pc:docMk/>
            <pc:sldMk cId="3299819554" sldId="2146846386"/>
            <ac:spMk id="59" creationId="{90B4C7A6-1146-A4F7-F58B-CF1A5B25CD55}"/>
          </ac:spMkLst>
        </pc:spChg>
        <pc:spChg chg="del">
          <ac:chgData name="Md Fahim Hasan" userId="92968fce-d4dd-4b9e-8635-66a07c9f98a7" providerId="ADAL" clId="{3A6F4128-6482-4C75-8C7D-220A75826C22}" dt="2023-07-17T21:34:28.824" v="891" actId="478"/>
          <ac:spMkLst>
            <pc:docMk/>
            <pc:sldMk cId="3299819554" sldId="2146846386"/>
            <ac:spMk id="62" creationId="{6ACC9BD9-0A30-22E4-1AAE-B7B60C0DD078}"/>
          </ac:spMkLst>
        </pc:spChg>
        <pc:spChg chg="del">
          <ac:chgData name="Md Fahim Hasan" userId="92968fce-d4dd-4b9e-8635-66a07c9f98a7" providerId="ADAL" clId="{3A6F4128-6482-4C75-8C7D-220A75826C22}" dt="2023-07-17T21:34:27.168" v="890" actId="478"/>
          <ac:spMkLst>
            <pc:docMk/>
            <pc:sldMk cId="3299819554" sldId="2146846386"/>
            <ac:spMk id="63" creationId="{15AC1DFF-5986-2F03-33B5-C89C2ADF3A4F}"/>
          </ac:spMkLst>
        </pc:spChg>
        <pc:spChg chg="del">
          <ac:chgData name="Md Fahim Hasan" userId="92968fce-d4dd-4b9e-8635-66a07c9f98a7" providerId="ADAL" clId="{3A6F4128-6482-4C75-8C7D-220A75826C22}" dt="2023-07-17T21:34:27.168" v="890" actId="478"/>
          <ac:spMkLst>
            <pc:docMk/>
            <pc:sldMk cId="3299819554" sldId="2146846386"/>
            <ac:spMk id="67" creationId="{3D57C913-D685-7FBB-DAC9-D663C4A11301}"/>
          </ac:spMkLst>
        </pc:spChg>
        <pc:spChg chg="del">
          <ac:chgData name="Md Fahim Hasan" userId="92968fce-d4dd-4b9e-8635-66a07c9f98a7" providerId="ADAL" clId="{3A6F4128-6482-4C75-8C7D-220A75826C22}" dt="2023-07-17T21:34:27.168" v="890" actId="478"/>
          <ac:spMkLst>
            <pc:docMk/>
            <pc:sldMk cId="3299819554" sldId="2146846386"/>
            <ac:spMk id="68" creationId="{60A3FB28-B2FC-8C9E-D8BB-40907E553639}"/>
          </ac:spMkLst>
        </pc:spChg>
        <pc:spChg chg="del">
          <ac:chgData name="Md Fahim Hasan" userId="92968fce-d4dd-4b9e-8635-66a07c9f98a7" providerId="ADAL" clId="{3A6F4128-6482-4C75-8C7D-220A75826C22}" dt="2023-07-17T21:34:27.168" v="890" actId="478"/>
          <ac:spMkLst>
            <pc:docMk/>
            <pc:sldMk cId="3299819554" sldId="2146846386"/>
            <ac:spMk id="69" creationId="{1F2244A3-95C7-B48D-A6EF-2490C551608A}"/>
          </ac:spMkLst>
        </pc:spChg>
        <pc:cxnChg chg="add del mod">
          <ac:chgData name="Md Fahim Hasan" userId="92968fce-d4dd-4b9e-8635-66a07c9f98a7" providerId="ADAL" clId="{3A6F4128-6482-4C75-8C7D-220A75826C22}" dt="2023-07-21T22:23:05.622" v="13279" actId="478"/>
          <ac:cxnSpMkLst>
            <pc:docMk/>
            <pc:sldMk cId="3299819554" sldId="2146846386"/>
            <ac:cxnSpMk id="12" creationId="{3949C65D-F337-77F4-CBF2-3B5676CD78E1}"/>
          </ac:cxnSpMkLst>
        </pc:cxnChg>
        <pc:cxnChg chg="add del mod">
          <ac:chgData name="Md Fahim Hasan" userId="92968fce-d4dd-4b9e-8635-66a07c9f98a7" providerId="ADAL" clId="{3A6F4128-6482-4C75-8C7D-220A75826C22}" dt="2023-07-20T19:45:53.200" v="9911"/>
          <ac:cxnSpMkLst>
            <pc:docMk/>
            <pc:sldMk cId="3299819554" sldId="2146846386"/>
            <ac:cxnSpMk id="13" creationId="{A2C93E86-FEB4-40C8-A998-A09229446CE9}"/>
          </ac:cxnSpMkLst>
        </pc:cxnChg>
        <pc:cxnChg chg="add del mod">
          <ac:chgData name="Md Fahim Hasan" userId="92968fce-d4dd-4b9e-8635-66a07c9f98a7" providerId="ADAL" clId="{3A6F4128-6482-4C75-8C7D-220A75826C22}" dt="2023-07-17T21:49:40.410" v="1163" actId="478"/>
          <ac:cxnSpMkLst>
            <pc:docMk/>
            <pc:sldMk cId="3299819554" sldId="2146846386"/>
            <ac:cxnSpMk id="14" creationId="{2D87B00E-1DDE-87CE-A084-54F28D46426F}"/>
          </ac:cxnSpMkLst>
        </pc:cxnChg>
        <pc:cxnChg chg="add del mod">
          <ac:chgData name="Md Fahim Hasan" userId="92968fce-d4dd-4b9e-8635-66a07c9f98a7" providerId="ADAL" clId="{3A6F4128-6482-4C75-8C7D-220A75826C22}" dt="2023-07-21T22:23:05.622" v="13279" actId="478"/>
          <ac:cxnSpMkLst>
            <pc:docMk/>
            <pc:sldMk cId="3299819554" sldId="2146846386"/>
            <ac:cxnSpMk id="19" creationId="{EAEC5CB0-9F66-9866-7B24-3CB489200CF6}"/>
          </ac:cxnSpMkLst>
        </pc:cxnChg>
        <pc:cxnChg chg="add del mod">
          <ac:chgData name="Md Fahim Hasan" userId="92968fce-d4dd-4b9e-8635-66a07c9f98a7" providerId="ADAL" clId="{3A6F4128-6482-4C75-8C7D-220A75826C22}" dt="2023-07-21T22:23:05.622" v="13279" actId="478"/>
          <ac:cxnSpMkLst>
            <pc:docMk/>
            <pc:sldMk cId="3299819554" sldId="2146846386"/>
            <ac:cxnSpMk id="21" creationId="{633E4688-564C-41FB-BC65-5056A5B90144}"/>
          </ac:cxnSpMkLst>
        </pc:cxnChg>
        <pc:cxnChg chg="add del mod">
          <ac:chgData name="Md Fahim Hasan" userId="92968fce-d4dd-4b9e-8635-66a07c9f98a7" providerId="ADAL" clId="{3A6F4128-6482-4C75-8C7D-220A75826C22}" dt="2023-07-21T22:23:05.622" v="13279" actId="478"/>
          <ac:cxnSpMkLst>
            <pc:docMk/>
            <pc:sldMk cId="3299819554" sldId="2146846386"/>
            <ac:cxnSpMk id="22" creationId="{C9CE9F37-2325-294A-135B-F0550FAECF93}"/>
          </ac:cxnSpMkLst>
        </pc:cxnChg>
        <pc:cxnChg chg="add del mod">
          <ac:chgData name="Md Fahim Hasan" userId="92968fce-d4dd-4b9e-8635-66a07c9f98a7" providerId="ADAL" clId="{3A6F4128-6482-4C75-8C7D-220A75826C22}" dt="2023-07-21T22:23:05.622" v="13279" actId="478"/>
          <ac:cxnSpMkLst>
            <pc:docMk/>
            <pc:sldMk cId="3299819554" sldId="2146846386"/>
            <ac:cxnSpMk id="26" creationId="{9D846DE1-8546-CA57-885E-56A2C2534CCB}"/>
          </ac:cxnSpMkLst>
        </pc:cxnChg>
        <pc:cxnChg chg="add del mod">
          <ac:chgData name="Md Fahim Hasan" userId="92968fce-d4dd-4b9e-8635-66a07c9f98a7" providerId="ADAL" clId="{3A6F4128-6482-4C75-8C7D-220A75826C22}" dt="2023-07-21T22:23:05.622" v="13279" actId="478"/>
          <ac:cxnSpMkLst>
            <pc:docMk/>
            <pc:sldMk cId="3299819554" sldId="2146846386"/>
            <ac:cxnSpMk id="27" creationId="{8C78C693-EAAC-EB89-E338-90AAFBB17839}"/>
          </ac:cxnSpMkLst>
        </pc:cxnChg>
        <pc:cxnChg chg="add del mod">
          <ac:chgData name="Md Fahim Hasan" userId="92968fce-d4dd-4b9e-8635-66a07c9f98a7" providerId="ADAL" clId="{3A6F4128-6482-4C75-8C7D-220A75826C22}" dt="2023-07-21T22:23:05.622" v="13279" actId="478"/>
          <ac:cxnSpMkLst>
            <pc:docMk/>
            <pc:sldMk cId="3299819554" sldId="2146846386"/>
            <ac:cxnSpMk id="38" creationId="{54CB732F-EFAA-0062-81D8-400F002267C4}"/>
          </ac:cxnSpMkLst>
        </pc:cxnChg>
        <pc:cxnChg chg="add del mod">
          <ac:chgData name="Md Fahim Hasan" userId="92968fce-d4dd-4b9e-8635-66a07c9f98a7" providerId="ADAL" clId="{3A6F4128-6482-4C75-8C7D-220A75826C22}" dt="2023-07-17T22:03:02.418" v="1519" actId="478"/>
          <ac:cxnSpMkLst>
            <pc:docMk/>
            <pc:sldMk cId="3299819554" sldId="2146846386"/>
            <ac:cxnSpMk id="44" creationId="{BB7C9C98-7646-BD39-1D05-E7DA13380A12}"/>
          </ac:cxnSpMkLst>
        </pc:cxnChg>
        <pc:cxnChg chg="add del mod">
          <ac:chgData name="Md Fahim Hasan" userId="92968fce-d4dd-4b9e-8635-66a07c9f98a7" providerId="ADAL" clId="{3A6F4128-6482-4C75-8C7D-220A75826C22}" dt="2023-07-21T22:23:05.622" v="13279" actId="478"/>
          <ac:cxnSpMkLst>
            <pc:docMk/>
            <pc:sldMk cId="3299819554" sldId="2146846386"/>
            <ac:cxnSpMk id="46" creationId="{B50C30AB-5F63-C383-1BCF-41748E23BE0A}"/>
          </ac:cxnSpMkLst>
        </pc:cxnChg>
        <pc:cxnChg chg="add del mod">
          <ac:chgData name="Md Fahim Hasan" userId="92968fce-d4dd-4b9e-8635-66a07c9f98a7" providerId="ADAL" clId="{3A6F4128-6482-4C75-8C7D-220A75826C22}" dt="2023-07-17T22:03:11.311" v="1521" actId="478"/>
          <ac:cxnSpMkLst>
            <pc:docMk/>
            <pc:sldMk cId="3299819554" sldId="2146846386"/>
            <ac:cxnSpMk id="54" creationId="{D9E264DC-DB10-64D0-38CE-A908CF676516}"/>
          </ac:cxnSpMkLst>
        </pc:cxnChg>
        <pc:cxnChg chg="add del mod">
          <ac:chgData name="Md Fahim Hasan" userId="92968fce-d4dd-4b9e-8635-66a07c9f98a7" providerId="ADAL" clId="{3A6F4128-6482-4C75-8C7D-220A75826C22}" dt="2023-07-21T22:23:05.622" v="13279" actId="478"/>
          <ac:cxnSpMkLst>
            <pc:docMk/>
            <pc:sldMk cId="3299819554" sldId="2146846386"/>
            <ac:cxnSpMk id="56" creationId="{FE9C8553-0384-2641-7E80-E9CD677A1BB0}"/>
          </ac:cxnSpMkLst>
        </pc:cxnChg>
        <pc:cxnChg chg="del mod">
          <ac:chgData name="Md Fahim Hasan" userId="92968fce-d4dd-4b9e-8635-66a07c9f98a7" providerId="ADAL" clId="{3A6F4128-6482-4C75-8C7D-220A75826C22}" dt="2023-07-17T21:34:27.168" v="890" actId="478"/>
          <ac:cxnSpMkLst>
            <pc:docMk/>
            <pc:sldMk cId="3299819554" sldId="2146846386"/>
            <ac:cxnSpMk id="61" creationId="{36FD637E-E67B-7D24-5C59-101BCC9B20B1}"/>
          </ac:cxnSpMkLst>
        </pc:cxnChg>
        <pc:cxnChg chg="del mod">
          <ac:chgData name="Md Fahim Hasan" userId="92968fce-d4dd-4b9e-8635-66a07c9f98a7" providerId="ADAL" clId="{3A6F4128-6482-4C75-8C7D-220A75826C22}" dt="2023-07-17T21:34:27.168" v="890" actId="478"/>
          <ac:cxnSpMkLst>
            <pc:docMk/>
            <pc:sldMk cId="3299819554" sldId="2146846386"/>
            <ac:cxnSpMk id="64" creationId="{F8C37DCD-1BE8-D3DD-E51D-F73EC3236D8D}"/>
          </ac:cxnSpMkLst>
        </pc:cxnChg>
        <pc:cxnChg chg="add del mod">
          <ac:chgData name="Md Fahim Hasan" userId="92968fce-d4dd-4b9e-8635-66a07c9f98a7" providerId="ADAL" clId="{3A6F4128-6482-4C75-8C7D-220A75826C22}" dt="2023-07-21T22:23:05.622" v="13279" actId="478"/>
          <ac:cxnSpMkLst>
            <pc:docMk/>
            <pc:sldMk cId="3299819554" sldId="2146846386"/>
            <ac:cxnSpMk id="74" creationId="{7C59F5D8-CB92-52E7-C960-05BF652B3B6E}"/>
          </ac:cxnSpMkLst>
        </pc:cxnChg>
      </pc:sldChg>
      <pc:sldChg chg="addSp delSp modSp add mod modAnim">
        <pc:chgData name="Md Fahim Hasan" userId="92968fce-d4dd-4b9e-8635-66a07c9f98a7" providerId="ADAL" clId="{3A6F4128-6482-4C75-8C7D-220A75826C22}" dt="2023-07-27T20:23:18.761" v="37926" actId="113"/>
        <pc:sldMkLst>
          <pc:docMk/>
          <pc:sldMk cId="3028212172" sldId="2146846387"/>
        </pc:sldMkLst>
        <pc:spChg chg="mod">
          <ac:chgData name="Md Fahim Hasan" userId="92968fce-d4dd-4b9e-8635-66a07c9f98a7" providerId="ADAL" clId="{3A6F4128-6482-4C75-8C7D-220A75826C22}" dt="2023-07-26T18:26:50.370" v="24703" actId="6549"/>
          <ac:spMkLst>
            <pc:docMk/>
            <pc:sldMk cId="3028212172" sldId="2146846387"/>
            <ac:spMk id="2" creationId="{D423FFAF-9CDC-ACC2-E90E-850A37957BAA}"/>
          </ac:spMkLst>
        </pc:spChg>
        <pc:spChg chg="mod">
          <ac:chgData name="Md Fahim Hasan" userId="92968fce-d4dd-4b9e-8635-66a07c9f98a7" providerId="ADAL" clId="{3A6F4128-6482-4C75-8C7D-220A75826C22}" dt="2023-07-17T22:11:28.426" v="1615" actId="1076"/>
          <ac:spMkLst>
            <pc:docMk/>
            <pc:sldMk cId="3028212172" sldId="2146846387"/>
            <ac:spMk id="3" creationId="{BBE374DC-2B4D-CC21-509C-1EE76C7459BF}"/>
          </ac:spMkLst>
        </pc:spChg>
        <pc:spChg chg="del">
          <ac:chgData name="Md Fahim Hasan" userId="92968fce-d4dd-4b9e-8635-66a07c9f98a7" providerId="ADAL" clId="{3A6F4128-6482-4C75-8C7D-220A75826C22}" dt="2023-07-17T22:11:19.865" v="1614" actId="478"/>
          <ac:spMkLst>
            <pc:docMk/>
            <pc:sldMk cId="3028212172" sldId="2146846387"/>
            <ac:spMk id="4" creationId="{6E725962-AA6E-3764-10EC-09E349BF7BE0}"/>
          </ac:spMkLst>
        </pc:spChg>
        <pc:spChg chg="mod">
          <ac:chgData name="Md Fahim Hasan" userId="92968fce-d4dd-4b9e-8635-66a07c9f98a7" providerId="ADAL" clId="{3A6F4128-6482-4C75-8C7D-220A75826C22}" dt="2023-07-27T15:51:58.279" v="35706"/>
          <ac:spMkLst>
            <pc:docMk/>
            <pc:sldMk cId="3028212172" sldId="2146846387"/>
            <ac:spMk id="4" creationId="{D043F8F3-BE8A-7F42-F82A-E7E5540DE677}"/>
          </ac:spMkLst>
        </pc:spChg>
        <pc:spChg chg="mod">
          <ac:chgData name="Md Fahim Hasan" userId="92968fce-d4dd-4b9e-8635-66a07c9f98a7" providerId="ADAL" clId="{3A6F4128-6482-4C75-8C7D-220A75826C22}" dt="2023-07-17T22:11:28.426" v="1615" actId="1076"/>
          <ac:spMkLst>
            <pc:docMk/>
            <pc:sldMk cId="3028212172" sldId="2146846387"/>
            <ac:spMk id="5" creationId="{9F7F57A7-442D-82AB-3AD9-521A308C82AF}"/>
          </ac:spMkLst>
        </pc:spChg>
        <pc:spChg chg="mod">
          <ac:chgData name="Md Fahim Hasan" userId="92968fce-d4dd-4b9e-8635-66a07c9f98a7" providerId="ADAL" clId="{3A6F4128-6482-4C75-8C7D-220A75826C22}" dt="2023-07-17T22:11:28.426" v="1615" actId="1076"/>
          <ac:spMkLst>
            <pc:docMk/>
            <pc:sldMk cId="3028212172" sldId="2146846387"/>
            <ac:spMk id="6" creationId="{D027ECB3-9E9A-490C-3B18-F9FAFF0F379D}"/>
          </ac:spMkLst>
        </pc:spChg>
        <pc:spChg chg="mod">
          <ac:chgData name="Md Fahim Hasan" userId="92968fce-d4dd-4b9e-8635-66a07c9f98a7" providerId="ADAL" clId="{3A6F4128-6482-4C75-8C7D-220A75826C22}" dt="2023-07-17T22:11:28.426" v="1615" actId="1076"/>
          <ac:spMkLst>
            <pc:docMk/>
            <pc:sldMk cId="3028212172" sldId="2146846387"/>
            <ac:spMk id="7" creationId="{42710935-B651-FC59-77DA-0FCAAAFDFECA}"/>
          </ac:spMkLst>
        </pc:spChg>
        <pc:spChg chg="mod">
          <ac:chgData name="Md Fahim Hasan" userId="92968fce-d4dd-4b9e-8635-66a07c9f98a7" providerId="ADAL" clId="{3A6F4128-6482-4C75-8C7D-220A75826C22}" dt="2023-07-18T18:29:34.281" v="4610" actId="20577"/>
          <ac:spMkLst>
            <pc:docMk/>
            <pc:sldMk cId="3028212172" sldId="2146846387"/>
            <ac:spMk id="8" creationId="{A4B40D14-0A2C-A05B-A83A-19A0895929AA}"/>
          </ac:spMkLst>
        </pc:spChg>
        <pc:spChg chg="mod">
          <ac:chgData name="Md Fahim Hasan" userId="92968fce-d4dd-4b9e-8635-66a07c9f98a7" providerId="ADAL" clId="{3A6F4128-6482-4C75-8C7D-220A75826C22}" dt="2023-07-27T20:23:18.761" v="37926" actId="113"/>
          <ac:spMkLst>
            <pc:docMk/>
            <pc:sldMk cId="3028212172" sldId="2146846387"/>
            <ac:spMk id="9" creationId="{DCE765C9-F866-A10C-05BC-B0F5CF7D4FA9}"/>
          </ac:spMkLst>
        </pc:spChg>
        <pc:spChg chg="mod">
          <ac:chgData name="Md Fahim Hasan" userId="92968fce-d4dd-4b9e-8635-66a07c9f98a7" providerId="ADAL" clId="{3A6F4128-6482-4C75-8C7D-220A75826C22}" dt="2023-07-17T22:11:28.426" v="1615" actId="1076"/>
          <ac:spMkLst>
            <pc:docMk/>
            <pc:sldMk cId="3028212172" sldId="2146846387"/>
            <ac:spMk id="10" creationId="{2393CE26-9104-47DD-1444-9251A959AAF8}"/>
          </ac:spMkLst>
        </pc:spChg>
        <pc:spChg chg="add mod">
          <ac:chgData name="Md Fahim Hasan" userId="92968fce-d4dd-4b9e-8635-66a07c9f98a7" providerId="ADAL" clId="{3A6F4128-6482-4C75-8C7D-220A75826C22}" dt="2023-07-26T18:29:04.882" v="24833" actId="20577"/>
          <ac:spMkLst>
            <pc:docMk/>
            <pc:sldMk cId="3028212172" sldId="2146846387"/>
            <ac:spMk id="13" creationId="{137E2CE9-EBB9-47F2-D448-6F87B80F8B98}"/>
          </ac:spMkLst>
        </pc:spChg>
        <pc:spChg chg="mod">
          <ac:chgData name="Md Fahim Hasan" userId="92968fce-d4dd-4b9e-8635-66a07c9f98a7" providerId="ADAL" clId="{3A6F4128-6482-4C75-8C7D-220A75826C22}" dt="2023-07-17T22:11:28.426" v="1615" actId="1076"/>
          <ac:spMkLst>
            <pc:docMk/>
            <pc:sldMk cId="3028212172" sldId="2146846387"/>
            <ac:spMk id="16" creationId="{84F5F83C-35E6-5099-E1AF-3CD54D9B2E5D}"/>
          </ac:spMkLst>
        </pc:spChg>
        <pc:spChg chg="mod">
          <ac:chgData name="Md Fahim Hasan" userId="92968fce-d4dd-4b9e-8635-66a07c9f98a7" providerId="ADAL" clId="{3A6F4128-6482-4C75-8C7D-220A75826C22}" dt="2023-07-27T14:44:04.435" v="34946" actId="20577"/>
          <ac:spMkLst>
            <pc:docMk/>
            <pc:sldMk cId="3028212172" sldId="2146846387"/>
            <ac:spMk id="17" creationId="{312523D9-B3BC-1E8B-706E-D99E9EB5EB72}"/>
          </ac:spMkLst>
        </pc:spChg>
        <pc:spChg chg="add mod">
          <ac:chgData name="Md Fahim Hasan" userId="92968fce-d4dd-4b9e-8635-66a07c9f98a7" providerId="ADAL" clId="{3A6F4128-6482-4C75-8C7D-220A75826C22}" dt="2023-07-17T22:23:21.358" v="1754" actId="208"/>
          <ac:spMkLst>
            <pc:docMk/>
            <pc:sldMk cId="3028212172" sldId="2146846387"/>
            <ac:spMk id="29" creationId="{8CD0F935-01B0-9D95-506D-764C60647B30}"/>
          </ac:spMkLst>
        </pc:spChg>
        <pc:spChg chg="mod">
          <ac:chgData name="Md Fahim Hasan" userId="92968fce-d4dd-4b9e-8635-66a07c9f98a7" providerId="ADAL" clId="{3A6F4128-6482-4C75-8C7D-220A75826C22}" dt="2023-07-17T22:11:28.426" v="1615" actId="1076"/>
          <ac:spMkLst>
            <pc:docMk/>
            <pc:sldMk cId="3028212172" sldId="2146846387"/>
            <ac:spMk id="41" creationId="{AF888FBF-A457-95EB-8F40-9876975F7B07}"/>
          </ac:spMkLst>
        </pc:spChg>
        <pc:spChg chg="mod">
          <ac:chgData name="Md Fahim Hasan" userId="92968fce-d4dd-4b9e-8635-66a07c9f98a7" providerId="ADAL" clId="{3A6F4128-6482-4C75-8C7D-220A75826C22}" dt="2023-07-26T18:26:55.583" v="24705" actId="20577"/>
          <ac:spMkLst>
            <pc:docMk/>
            <pc:sldMk cId="3028212172" sldId="2146846387"/>
            <ac:spMk id="49" creationId="{19C589D2-8479-4B0D-4A80-DEFC3E7C4CC5}"/>
          </ac:spMkLst>
        </pc:spChg>
        <pc:spChg chg="add mod">
          <ac:chgData name="Md Fahim Hasan" userId="92968fce-d4dd-4b9e-8635-66a07c9f98a7" providerId="ADAL" clId="{3A6F4128-6482-4C75-8C7D-220A75826C22}" dt="2023-07-21T22:22:06.860" v="13272" actId="113"/>
          <ac:spMkLst>
            <pc:docMk/>
            <pc:sldMk cId="3028212172" sldId="2146846387"/>
            <ac:spMk id="58" creationId="{FD8AE705-62F3-6720-69B6-2F00BA9FD743}"/>
          </ac:spMkLst>
        </pc:spChg>
        <pc:cxnChg chg="add mod">
          <ac:chgData name="Md Fahim Hasan" userId="92968fce-d4dd-4b9e-8635-66a07c9f98a7" providerId="ADAL" clId="{3A6F4128-6482-4C75-8C7D-220A75826C22}" dt="2023-07-17T22:17:33.870" v="1701" actId="208"/>
          <ac:cxnSpMkLst>
            <pc:docMk/>
            <pc:sldMk cId="3028212172" sldId="2146846387"/>
            <ac:cxnSpMk id="11" creationId="{0D18F2EC-EA7D-193C-08EE-A31406043253}"/>
          </ac:cxnSpMkLst>
        </pc:cxnChg>
        <pc:cxnChg chg="mod">
          <ac:chgData name="Md Fahim Hasan" userId="92968fce-d4dd-4b9e-8635-66a07c9f98a7" providerId="ADAL" clId="{3A6F4128-6482-4C75-8C7D-220A75826C22}" dt="2023-07-17T22:11:28.426" v="1615" actId="1076"/>
          <ac:cxnSpMkLst>
            <pc:docMk/>
            <pc:sldMk cId="3028212172" sldId="2146846387"/>
            <ac:cxnSpMk id="12" creationId="{3949C65D-F337-77F4-CBF2-3B5676CD78E1}"/>
          </ac:cxnSpMkLst>
        </pc:cxnChg>
        <pc:cxnChg chg="mod">
          <ac:chgData name="Md Fahim Hasan" userId="92968fce-d4dd-4b9e-8635-66a07c9f98a7" providerId="ADAL" clId="{3A6F4128-6482-4C75-8C7D-220A75826C22}" dt="2023-07-17T22:11:28.426" v="1615" actId="1076"/>
          <ac:cxnSpMkLst>
            <pc:docMk/>
            <pc:sldMk cId="3028212172" sldId="2146846387"/>
            <ac:cxnSpMk id="19" creationId="{EAEC5CB0-9F66-9866-7B24-3CB489200CF6}"/>
          </ac:cxnSpMkLst>
        </pc:cxnChg>
        <pc:cxnChg chg="mod">
          <ac:chgData name="Md Fahim Hasan" userId="92968fce-d4dd-4b9e-8635-66a07c9f98a7" providerId="ADAL" clId="{3A6F4128-6482-4C75-8C7D-220A75826C22}" dt="2023-07-17T22:11:28.426" v="1615" actId="1076"/>
          <ac:cxnSpMkLst>
            <pc:docMk/>
            <pc:sldMk cId="3028212172" sldId="2146846387"/>
            <ac:cxnSpMk id="22" creationId="{C9CE9F37-2325-294A-135B-F0550FAECF93}"/>
          </ac:cxnSpMkLst>
        </pc:cxnChg>
        <pc:cxnChg chg="mod">
          <ac:chgData name="Md Fahim Hasan" userId="92968fce-d4dd-4b9e-8635-66a07c9f98a7" providerId="ADAL" clId="{3A6F4128-6482-4C75-8C7D-220A75826C22}" dt="2023-07-17T22:11:28.426" v="1615" actId="1076"/>
          <ac:cxnSpMkLst>
            <pc:docMk/>
            <pc:sldMk cId="3028212172" sldId="2146846387"/>
            <ac:cxnSpMk id="26" creationId="{9D846DE1-8546-CA57-885E-56A2C2534CCB}"/>
          </ac:cxnSpMkLst>
        </pc:cxnChg>
        <pc:cxnChg chg="mod">
          <ac:chgData name="Md Fahim Hasan" userId="92968fce-d4dd-4b9e-8635-66a07c9f98a7" providerId="ADAL" clId="{3A6F4128-6482-4C75-8C7D-220A75826C22}" dt="2023-07-17T22:11:28.426" v="1615" actId="1076"/>
          <ac:cxnSpMkLst>
            <pc:docMk/>
            <pc:sldMk cId="3028212172" sldId="2146846387"/>
            <ac:cxnSpMk id="27" creationId="{8C78C693-EAAC-EB89-E338-90AAFBB17839}"/>
          </ac:cxnSpMkLst>
        </pc:cxnChg>
        <pc:cxnChg chg="add mod">
          <ac:chgData name="Md Fahim Hasan" userId="92968fce-d4dd-4b9e-8635-66a07c9f98a7" providerId="ADAL" clId="{3A6F4128-6482-4C75-8C7D-220A75826C22}" dt="2023-07-26T18:28:42.244" v="24811" actId="14100"/>
          <ac:cxnSpMkLst>
            <pc:docMk/>
            <pc:sldMk cId="3028212172" sldId="2146846387"/>
            <ac:cxnSpMk id="35" creationId="{8E245135-CCF3-79B5-77FB-7A3A1A6DC4BD}"/>
          </ac:cxnSpMkLst>
        </pc:cxnChg>
        <pc:cxnChg chg="mod">
          <ac:chgData name="Md Fahim Hasan" userId="92968fce-d4dd-4b9e-8635-66a07c9f98a7" providerId="ADAL" clId="{3A6F4128-6482-4C75-8C7D-220A75826C22}" dt="2023-07-17T22:11:28.426" v="1615" actId="1076"/>
          <ac:cxnSpMkLst>
            <pc:docMk/>
            <pc:sldMk cId="3028212172" sldId="2146846387"/>
            <ac:cxnSpMk id="38" creationId="{54CB732F-EFAA-0062-81D8-400F002267C4}"/>
          </ac:cxnSpMkLst>
        </pc:cxnChg>
        <pc:cxnChg chg="mod">
          <ac:chgData name="Md Fahim Hasan" userId="92968fce-d4dd-4b9e-8635-66a07c9f98a7" providerId="ADAL" clId="{3A6F4128-6482-4C75-8C7D-220A75826C22}" dt="2023-07-17T22:21:18.520" v="1737" actId="692"/>
          <ac:cxnSpMkLst>
            <pc:docMk/>
            <pc:sldMk cId="3028212172" sldId="2146846387"/>
            <ac:cxnSpMk id="46" creationId="{B50C30AB-5F63-C383-1BCF-41748E23BE0A}"/>
          </ac:cxnSpMkLst>
        </pc:cxnChg>
        <pc:cxnChg chg="add mod">
          <ac:chgData name="Md Fahim Hasan" userId="92968fce-d4dd-4b9e-8635-66a07c9f98a7" providerId="ADAL" clId="{3A6F4128-6482-4C75-8C7D-220A75826C22}" dt="2023-07-17T22:18:05.777" v="1705" actId="14100"/>
          <ac:cxnSpMkLst>
            <pc:docMk/>
            <pc:sldMk cId="3028212172" sldId="2146846387"/>
            <ac:cxnSpMk id="54" creationId="{7E3A8081-2E8A-BDF2-6E2D-38657E14DCA2}"/>
          </ac:cxnSpMkLst>
        </pc:cxnChg>
        <pc:cxnChg chg="mod">
          <ac:chgData name="Md Fahim Hasan" userId="92968fce-d4dd-4b9e-8635-66a07c9f98a7" providerId="ADAL" clId="{3A6F4128-6482-4C75-8C7D-220A75826C22}" dt="2023-07-26T18:28:47.770" v="24812" actId="14100"/>
          <ac:cxnSpMkLst>
            <pc:docMk/>
            <pc:sldMk cId="3028212172" sldId="2146846387"/>
            <ac:cxnSpMk id="56" creationId="{FE9C8553-0384-2641-7E80-E9CD677A1BB0}"/>
          </ac:cxnSpMkLst>
        </pc:cxnChg>
        <pc:cxnChg chg="mod">
          <ac:chgData name="Md Fahim Hasan" userId="92968fce-d4dd-4b9e-8635-66a07c9f98a7" providerId="ADAL" clId="{3A6F4128-6482-4C75-8C7D-220A75826C22}" dt="2023-07-17T22:11:28.426" v="1615" actId="1076"/>
          <ac:cxnSpMkLst>
            <pc:docMk/>
            <pc:sldMk cId="3028212172" sldId="2146846387"/>
            <ac:cxnSpMk id="74" creationId="{7C59F5D8-CB92-52E7-C960-05BF652B3B6E}"/>
          </ac:cxnSpMkLst>
        </pc:cxnChg>
      </pc:sldChg>
      <pc:sldChg chg="addSp delSp modSp add mod ord delAnim modAnim modNotesTx">
        <pc:chgData name="Md Fahim Hasan" userId="92968fce-d4dd-4b9e-8635-66a07c9f98a7" providerId="ADAL" clId="{3A6F4128-6482-4C75-8C7D-220A75826C22}" dt="2023-07-27T20:28:55.372" v="37968"/>
        <pc:sldMkLst>
          <pc:docMk/>
          <pc:sldMk cId="50484898" sldId="2146846388"/>
        </pc:sldMkLst>
        <pc:spChg chg="mod">
          <ac:chgData name="Md Fahim Hasan" userId="92968fce-d4dd-4b9e-8635-66a07c9f98a7" providerId="ADAL" clId="{3A6F4128-6482-4C75-8C7D-220A75826C22}" dt="2023-07-27T15:51:58.279" v="35706"/>
          <ac:spMkLst>
            <pc:docMk/>
            <pc:sldMk cId="50484898" sldId="2146846388"/>
            <ac:spMk id="2" creationId="{8B52B355-12CD-54DA-334B-DE563A6E7CFB}"/>
          </ac:spMkLst>
        </pc:spChg>
        <pc:spChg chg="del">
          <ac:chgData name="Md Fahim Hasan" userId="92968fce-d4dd-4b9e-8635-66a07c9f98a7" providerId="ADAL" clId="{3A6F4128-6482-4C75-8C7D-220A75826C22}" dt="2023-07-17T22:34:03.801" v="1772" actId="478"/>
          <ac:spMkLst>
            <pc:docMk/>
            <pc:sldMk cId="50484898" sldId="2146846388"/>
            <ac:spMk id="2" creationId="{D423FFAF-9CDC-ACC2-E90E-850A37957BAA}"/>
          </ac:spMkLst>
        </pc:spChg>
        <pc:spChg chg="del">
          <ac:chgData name="Md Fahim Hasan" userId="92968fce-d4dd-4b9e-8635-66a07c9f98a7" providerId="ADAL" clId="{3A6F4128-6482-4C75-8C7D-220A75826C22}" dt="2023-07-17T22:34:03.801" v="1772" actId="478"/>
          <ac:spMkLst>
            <pc:docMk/>
            <pc:sldMk cId="50484898" sldId="2146846388"/>
            <ac:spMk id="3" creationId="{BBE374DC-2B4D-CC21-509C-1EE76C7459BF}"/>
          </ac:spMkLst>
        </pc:spChg>
        <pc:spChg chg="add del mod">
          <ac:chgData name="Md Fahim Hasan" userId="92968fce-d4dd-4b9e-8635-66a07c9f98a7" providerId="ADAL" clId="{3A6F4128-6482-4C75-8C7D-220A75826C22}" dt="2023-07-21T22:28:54.802" v="13468" actId="478"/>
          <ac:spMkLst>
            <pc:docMk/>
            <pc:sldMk cId="50484898" sldId="2146846388"/>
            <ac:spMk id="4" creationId="{59A6018B-9E1B-2CF1-7DA2-59B339EE12B2}"/>
          </ac:spMkLst>
        </pc:spChg>
        <pc:spChg chg="del">
          <ac:chgData name="Md Fahim Hasan" userId="92968fce-d4dd-4b9e-8635-66a07c9f98a7" providerId="ADAL" clId="{3A6F4128-6482-4C75-8C7D-220A75826C22}" dt="2023-07-17T22:34:05.794" v="1773" actId="478"/>
          <ac:spMkLst>
            <pc:docMk/>
            <pc:sldMk cId="50484898" sldId="2146846388"/>
            <ac:spMk id="5" creationId="{9F7F57A7-442D-82AB-3AD9-521A308C82AF}"/>
          </ac:spMkLst>
        </pc:spChg>
        <pc:spChg chg="del">
          <ac:chgData name="Md Fahim Hasan" userId="92968fce-d4dd-4b9e-8635-66a07c9f98a7" providerId="ADAL" clId="{3A6F4128-6482-4C75-8C7D-220A75826C22}" dt="2023-07-17T22:34:03.801" v="1772" actId="478"/>
          <ac:spMkLst>
            <pc:docMk/>
            <pc:sldMk cId="50484898" sldId="2146846388"/>
            <ac:spMk id="6" creationId="{D027ECB3-9E9A-490C-3B18-F9FAFF0F379D}"/>
          </ac:spMkLst>
        </pc:spChg>
        <pc:spChg chg="del">
          <ac:chgData name="Md Fahim Hasan" userId="92968fce-d4dd-4b9e-8635-66a07c9f98a7" providerId="ADAL" clId="{3A6F4128-6482-4C75-8C7D-220A75826C22}" dt="2023-07-17T22:34:03.801" v="1772" actId="478"/>
          <ac:spMkLst>
            <pc:docMk/>
            <pc:sldMk cId="50484898" sldId="2146846388"/>
            <ac:spMk id="7" creationId="{42710935-B651-FC59-77DA-0FCAAAFDFECA}"/>
          </ac:spMkLst>
        </pc:spChg>
        <pc:spChg chg="del">
          <ac:chgData name="Md Fahim Hasan" userId="92968fce-d4dd-4b9e-8635-66a07c9f98a7" providerId="ADAL" clId="{3A6F4128-6482-4C75-8C7D-220A75826C22}" dt="2023-07-17T22:34:03.801" v="1772" actId="478"/>
          <ac:spMkLst>
            <pc:docMk/>
            <pc:sldMk cId="50484898" sldId="2146846388"/>
            <ac:spMk id="8" creationId="{A4B40D14-0A2C-A05B-A83A-19A0895929AA}"/>
          </ac:spMkLst>
        </pc:spChg>
        <pc:spChg chg="mod">
          <ac:chgData name="Md Fahim Hasan" userId="92968fce-d4dd-4b9e-8635-66a07c9f98a7" providerId="ADAL" clId="{3A6F4128-6482-4C75-8C7D-220A75826C22}" dt="2023-07-25T17:04:40.097" v="18226" actId="20577"/>
          <ac:spMkLst>
            <pc:docMk/>
            <pc:sldMk cId="50484898" sldId="2146846388"/>
            <ac:spMk id="9" creationId="{DCE765C9-F866-A10C-05BC-B0F5CF7D4FA9}"/>
          </ac:spMkLst>
        </pc:spChg>
        <pc:spChg chg="del">
          <ac:chgData name="Md Fahim Hasan" userId="92968fce-d4dd-4b9e-8635-66a07c9f98a7" providerId="ADAL" clId="{3A6F4128-6482-4C75-8C7D-220A75826C22}" dt="2023-07-17T22:34:03.801" v="1772" actId="478"/>
          <ac:spMkLst>
            <pc:docMk/>
            <pc:sldMk cId="50484898" sldId="2146846388"/>
            <ac:spMk id="10" creationId="{2393CE26-9104-47DD-1444-9251A959AAF8}"/>
          </ac:spMkLst>
        </pc:spChg>
        <pc:spChg chg="add del mod">
          <ac:chgData name="Md Fahim Hasan" userId="92968fce-d4dd-4b9e-8635-66a07c9f98a7" providerId="ADAL" clId="{3A6F4128-6482-4C75-8C7D-220A75826C22}" dt="2023-07-21T14:30:19.581" v="10043" actId="478"/>
          <ac:spMkLst>
            <pc:docMk/>
            <pc:sldMk cId="50484898" sldId="2146846388"/>
            <ac:spMk id="14" creationId="{C1FF783D-9D48-5F9F-F53C-427DF5C7F34C}"/>
          </ac:spMkLst>
        </pc:spChg>
        <pc:spChg chg="del">
          <ac:chgData name="Md Fahim Hasan" userId="92968fce-d4dd-4b9e-8635-66a07c9f98a7" providerId="ADAL" clId="{3A6F4128-6482-4C75-8C7D-220A75826C22}" dt="2023-07-17T22:34:03.801" v="1772" actId="478"/>
          <ac:spMkLst>
            <pc:docMk/>
            <pc:sldMk cId="50484898" sldId="2146846388"/>
            <ac:spMk id="16" creationId="{84F5F83C-35E6-5099-E1AF-3CD54D9B2E5D}"/>
          </ac:spMkLst>
        </pc:spChg>
        <pc:spChg chg="del">
          <ac:chgData name="Md Fahim Hasan" userId="92968fce-d4dd-4b9e-8635-66a07c9f98a7" providerId="ADAL" clId="{3A6F4128-6482-4C75-8C7D-220A75826C22}" dt="2023-07-17T22:34:03.801" v="1772" actId="478"/>
          <ac:spMkLst>
            <pc:docMk/>
            <pc:sldMk cId="50484898" sldId="2146846388"/>
            <ac:spMk id="17" creationId="{312523D9-B3BC-1E8B-706E-D99E9EB5EB72}"/>
          </ac:spMkLst>
        </pc:spChg>
        <pc:spChg chg="add del mod">
          <ac:chgData name="Md Fahim Hasan" userId="92968fce-d4dd-4b9e-8635-66a07c9f98a7" providerId="ADAL" clId="{3A6F4128-6482-4C75-8C7D-220A75826C22}" dt="2023-07-21T22:21:09.454" v="13195" actId="478"/>
          <ac:spMkLst>
            <pc:docMk/>
            <pc:sldMk cId="50484898" sldId="2146846388"/>
            <ac:spMk id="18" creationId="{40D5597F-54EF-1475-073B-DAC1B7EDD096}"/>
          </ac:spMkLst>
        </pc:spChg>
        <pc:spChg chg="add mod">
          <ac:chgData name="Md Fahim Hasan" userId="92968fce-d4dd-4b9e-8635-66a07c9f98a7" providerId="ADAL" clId="{3A6F4128-6482-4C75-8C7D-220A75826C22}" dt="2023-07-27T14:45:30.525" v="34952" actId="115"/>
          <ac:spMkLst>
            <pc:docMk/>
            <pc:sldMk cId="50484898" sldId="2146846388"/>
            <ac:spMk id="20" creationId="{D8E263AE-6047-CA16-0E7E-853CAB8E6BF3}"/>
          </ac:spMkLst>
        </pc:spChg>
        <pc:spChg chg="del">
          <ac:chgData name="Md Fahim Hasan" userId="92968fce-d4dd-4b9e-8635-66a07c9f98a7" providerId="ADAL" clId="{3A6F4128-6482-4C75-8C7D-220A75826C22}" dt="2023-07-17T22:34:03.801" v="1772" actId="478"/>
          <ac:spMkLst>
            <pc:docMk/>
            <pc:sldMk cId="50484898" sldId="2146846388"/>
            <ac:spMk id="29" creationId="{8CD0F935-01B0-9D95-506D-764C60647B30}"/>
          </ac:spMkLst>
        </pc:spChg>
        <pc:spChg chg="del">
          <ac:chgData name="Md Fahim Hasan" userId="92968fce-d4dd-4b9e-8635-66a07c9f98a7" providerId="ADAL" clId="{3A6F4128-6482-4C75-8C7D-220A75826C22}" dt="2023-07-17T22:34:03.801" v="1772" actId="478"/>
          <ac:spMkLst>
            <pc:docMk/>
            <pc:sldMk cId="50484898" sldId="2146846388"/>
            <ac:spMk id="41" creationId="{AF888FBF-A457-95EB-8F40-9876975F7B07}"/>
          </ac:spMkLst>
        </pc:spChg>
        <pc:spChg chg="del">
          <ac:chgData name="Md Fahim Hasan" userId="92968fce-d4dd-4b9e-8635-66a07c9f98a7" providerId="ADAL" clId="{3A6F4128-6482-4C75-8C7D-220A75826C22}" dt="2023-07-17T22:34:07" v="1774" actId="478"/>
          <ac:spMkLst>
            <pc:docMk/>
            <pc:sldMk cId="50484898" sldId="2146846388"/>
            <ac:spMk id="49" creationId="{19C589D2-8479-4B0D-4A80-DEFC3E7C4CC5}"/>
          </ac:spMkLst>
        </pc:spChg>
        <pc:spChg chg="del">
          <ac:chgData name="Md Fahim Hasan" userId="92968fce-d4dd-4b9e-8635-66a07c9f98a7" providerId="ADAL" clId="{3A6F4128-6482-4C75-8C7D-220A75826C22}" dt="2023-07-17T22:34:08.394" v="1775" actId="478"/>
          <ac:spMkLst>
            <pc:docMk/>
            <pc:sldMk cId="50484898" sldId="2146846388"/>
            <ac:spMk id="58" creationId="{FD8AE705-62F3-6720-69B6-2F00BA9FD743}"/>
          </ac:spMkLst>
        </pc:spChg>
        <pc:cxnChg chg="del mod">
          <ac:chgData name="Md Fahim Hasan" userId="92968fce-d4dd-4b9e-8635-66a07c9f98a7" providerId="ADAL" clId="{3A6F4128-6482-4C75-8C7D-220A75826C22}" dt="2023-07-17T22:34:03.801" v="1772" actId="478"/>
          <ac:cxnSpMkLst>
            <pc:docMk/>
            <pc:sldMk cId="50484898" sldId="2146846388"/>
            <ac:cxnSpMk id="11" creationId="{0D18F2EC-EA7D-193C-08EE-A31406043253}"/>
          </ac:cxnSpMkLst>
        </pc:cxnChg>
        <pc:cxnChg chg="del mod">
          <ac:chgData name="Md Fahim Hasan" userId="92968fce-d4dd-4b9e-8635-66a07c9f98a7" providerId="ADAL" clId="{3A6F4128-6482-4C75-8C7D-220A75826C22}" dt="2023-07-17T22:34:03.801" v="1772" actId="478"/>
          <ac:cxnSpMkLst>
            <pc:docMk/>
            <pc:sldMk cId="50484898" sldId="2146846388"/>
            <ac:cxnSpMk id="12" creationId="{3949C65D-F337-77F4-CBF2-3B5676CD78E1}"/>
          </ac:cxnSpMkLst>
        </pc:cxnChg>
        <pc:cxnChg chg="del mod">
          <ac:chgData name="Md Fahim Hasan" userId="92968fce-d4dd-4b9e-8635-66a07c9f98a7" providerId="ADAL" clId="{3A6F4128-6482-4C75-8C7D-220A75826C22}" dt="2023-07-17T22:34:03.801" v="1772" actId="478"/>
          <ac:cxnSpMkLst>
            <pc:docMk/>
            <pc:sldMk cId="50484898" sldId="2146846388"/>
            <ac:cxnSpMk id="19" creationId="{EAEC5CB0-9F66-9866-7B24-3CB489200CF6}"/>
          </ac:cxnSpMkLst>
        </pc:cxnChg>
        <pc:cxnChg chg="del mod">
          <ac:chgData name="Md Fahim Hasan" userId="92968fce-d4dd-4b9e-8635-66a07c9f98a7" providerId="ADAL" clId="{3A6F4128-6482-4C75-8C7D-220A75826C22}" dt="2023-07-17T22:34:03.801" v="1772" actId="478"/>
          <ac:cxnSpMkLst>
            <pc:docMk/>
            <pc:sldMk cId="50484898" sldId="2146846388"/>
            <ac:cxnSpMk id="22" creationId="{C9CE9F37-2325-294A-135B-F0550FAECF93}"/>
          </ac:cxnSpMkLst>
        </pc:cxnChg>
        <pc:cxnChg chg="del mod">
          <ac:chgData name="Md Fahim Hasan" userId="92968fce-d4dd-4b9e-8635-66a07c9f98a7" providerId="ADAL" clId="{3A6F4128-6482-4C75-8C7D-220A75826C22}" dt="2023-07-17T22:34:03.801" v="1772" actId="478"/>
          <ac:cxnSpMkLst>
            <pc:docMk/>
            <pc:sldMk cId="50484898" sldId="2146846388"/>
            <ac:cxnSpMk id="26" creationId="{9D846DE1-8546-CA57-885E-56A2C2534CCB}"/>
          </ac:cxnSpMkLst>
        </pc:cxnChg>
        <pc:cxnChg chg="del mod">
          <ac:chgData name="Md Fahim Hasan" userId="92968fce-d4dd-4b9e-8635-66a07c9f98a7" providerId="ADAL" clId="{3A6F4128-6482-4C75-8C7D-220A75826C22}" dt="2023-07-17T22:34:03.801" v="1772" actId="478"/>
          <ac:cxnSpMkLst>
            <pc:docMk/>
            <pc:sldMk cId="50484898" sldId="2146846388"/>
            <ac:cxnSpMk id="27" creationId="{8C78C693-EAAC-EB89-E338-90AAFBB17839}"/>
          </ac:cxnSpMkLst>
        </pc:cxnChg>
        <pc:cxnChg chg="del mod">
          <ac:chgData name="Md Fahim Hasan" userId="92968fce-d4dd-4b9e-8635-66a07c9f98a7" providerId="ADAL" clId="{3A6F4128-6482-4C75-8C7D-220A75826C22}" dt="2023-07-17T22:34:03.801" v="1772" actId="478"/>
          <ac:cxnSpMkLst>
            <pc:docMk/>
            <pc:sldMk cId="50484898" sldId="2146846388"/>
            <ac:cxnSpMk id="35" creationId="{8E245135-CCF3-79B5-77FB-7A3A1A6DC4BD}"/>
          </ac:cxnSpMkLst>
        </pc:cxnChg>
        <pc:cxnChg chg="del mod">
          <ac:chgData name="Md Fahim Hasan" userId="92968fce-d4dd-4b9e-8635-66a07c9f98a7" providerId="ADAL" clId="{3A6F4128-6482-4C75-8C7D-220A75826C22}" dt="2023-07-17T22:34:03.801" v="1772" actId="478"/>
          <ac:cxnSpMkLst>
            <pc:docMk/>
            <pc:sldMk cId="50484898" sldId="2146846388"/>
            <ac:cxnSpMk id="38" creationId="{54CB732F-EFAA-0062-81D8-400F002267C4}"/>
          </ac:cxnSpMkLst>
        </pc:cxnChg>
        <pc:cxnChg chg="del mod">
          <ac:chgData name="Md Fahim Hasan" userId="92968fce-d4dd-4b9e-8635-66a07c9f98a7" providerId="ADAL" clId="{3A6F4128-6482-4C75-8C7D-220A75826C22}" dt="2023-07-17T22:34:03.801" v="1772" actId="478"/>
          <ac:cxnSpMkLst>
            <pc:docMk/>
            <pc:sldMk cId="50484898" sldId="2146846388"/>
            <ac:cxnSpMk id="46" creationId="{B50C30AB-5F63-C383-1BCF-41748E23BE0A}"/>
          </ac:cxnSpMkLst>
        </pc:cxnChg>
        <pc:cxnChg chg="del mod">
          <ac:chgData name="Md Fahim Hasan" userId="92968fce-d4dd-4b9e-8635-66a07c9f98a7" providerId="ADAL" clId="{3A6F4128-6482-4C75-8C7D-220A75826C22}" dt="2023-07-17T22:34:03.801" v="1772" actId="478"/>
          <ac:cxnSpMkLst>
            <pc:docMk/>
            <pc:sldMk cId="50484898" sldId="2146846388"/>
            <ac:cxnSpMk id="54" creationId="{7E3A8081-2E8A-BDF2-6E2D-38657E14DCA2}"/>
          </ac:cxnSpMkLst>
        </pc:cxnChg>
        <pc:cxnChg chg="del mod">
          <ac:chgData name="Md Fahim Hasan" userId="92968fce-d4dd-4b9e-8635-66a07c9f98a7" providerId="ADAL" clId="{3A6F4128-6482-4C75-8C7D-220A75826C22}" dt="2023-07-17T22:34:03.801" v="1772" actId="478"/>
          <ac:cxnSpMkLst>
            <pc:docMk/>
            <pc:sldMk cId="50484898" sldId="2146846388"/>
            <ac:cxnSpMk id="56" creationId="{FE9C8553-0384-2641-7E80-E9CD677A1BB0}"/>
          </ac:cxnSpMkLst>
        </pc:cxnChg>
        <pc:cxnChg chg="del mod">
          <ac:chgData name="Md Fahim Hasan" userId="92968fce-d4dd-4b9e-8635-66a07c9f98a7" providerId="ADAL" clId="{3A6F4128-6482-4C75-8C7D-220A75826C22}" dt="2023-07-17T22:34:03.801" v="1772" actId="478"/>
          <ac:cxnSpMkLst>
            <pc:docMk/>
            <pc:sldMk cId="50484898" sldId="2146846388"/>
            <ac:cxnSpMk id="74" creationId="{7C59F5D8-CB92-52E7-C960-05BF652B3B6E}"/>
          </ac:cxnSpMkLst>
        </pc:cxnChg>
      </pc:sldChg>
      <pc:sldChg chg="addSp delSp modSp add mod delAnim modAnim">
        <pc:chgData name="Md Fahim Hasan" userId="92968fce-d4dd-4b9e-8635-66a07c9f98a7" providerId="ADAL" clId="{3A6F4128-6482-4C75-8C7D-220A75826C22}" dt="2023-07-27T15:51:58.279" v="35706"/>
        <pc:sldMkLst>
          <pc:docMk/>
          <pc:sldMk cId="1048505515" sldId="2146846389"/>
        </pc:sldMkLst>
        <pc:spChg chg="mod">
          <ac:chgData name="Md Fahim Hasan" userId="92968fce-d4dd-4b9e-8635-66a07c9f98a7" providerId="ADAL" clId="{3A6F4128-6482-4C75-8C7D-220A75826C22}" dt="2023-07-27T15:51:58.279" v="35706"/>
          <ac:spMkLst>
            <pc:docMk/>
            <pc:sldMk cId="1048505515" sldId="2146846389"/>
            <ac:spMk id="2" creationId="{56C1F752-97FE-CC5B-DA77-DDC0B76B32E3}"/>
          </ac:spMkLst>
        </pc:spChg>
        <pc:spChg chg="del mod">
          <ac:chgData name="Md Fahim Hasan" userId="92968fce-d4dd-4b9e-8635-66a07c9f98a7" providerId="ADAL" clId="{3A6F4128-6482-4C75-8C7D-220A75826C22}" dt="2023-07-25T19:52:48.930" v="19699" actId="478"/>
          <ac:spMkLst>
            <pc:docMk/>
            <pc:sldMk cId="1048505515" sldId="2146846389"/>
            <ac:spMk id="4" creationId="{506E6838-E7FB-7E52-6860-B01540E41B95}"/>
          </ac:spMkLst>
        </pc:spChg>
        <pc:spChg chg="add mod">
          <ac:chgData name="Md Fahim Hasan" userId="92968fce-d4dd-4b9e-8635-66a07c9f98a7" providerId="ADAL" clId="{3A6F4128-6482-4C75-8C7D-220A75826C22}" dt="2023-07-26T22:50:21.361" v="30910" actId="20577"/>
          <ac:spMkLst>
            <pc:docMk/>
            <pc:sldMk cId="1048505515" sldId="2146846389"/>
            <ac:spMk id="4" creationId="{5598E743-B229-632B-3E96-FA0F8780461F}"/>
          </ac:spMkLst>
        </pc:spChg>
        <pc:spChg chg="add mod">
          <ac:chgData name="Md Fahim Hasan" userId="92968fce-d4dd-4b9e-8635-66a07c9f98a7" providerId="ADAL" clId="{3A6F4128-6482-4C75-8C7D-220A75826C22}" dt="2023-07-26T22:50:23.753" v="30911" actId="20577"/>
          <ac:spMkLst>
            <pc:docMk/>
            <pc:sldMk cId="1048505515" sldId="2146846389"/>
            <ac:spMk id="5" creationId="{46766ECA-D28D-A5BA-3991-FED81CDD14C7}"/>
          </ac:spMkLst>
        </pc:spChg>
        <pc:spChg chg="add del mod">
          <ac:chgData name="Md Fahim Hasan" userId="92968fce-d4dd-4b9e-8635-66a07c9f98a7" providerId="ADAL" clId="{3A6F4128-6482-4C75-8C7D-220A75826C22}" dt="2023-07-25T19:52:47.476" v="19698"/>
          <ac:spMkLst>
            <pc:docMk/>
            <pc:sldMk cId="1048505515" sldId="2146846389"/>
            <ac:spMk id="5" creationId="{B40AEFD8-4F40-D983-8F4F-D538F03383F2}"/>
          </ac:spMkLst>
        </pc:spChg>
        <pc:spChg chg="add mod">
          <ac:chgData name="Md Fahim Hasan" userId="92968fce-d4dd-4b9e-8635-66a07c9f98a7" providerId="ADAL" clId="{3A6F4128-6482-4C75-8C7D-220A75826C22}" dt="2023-07-25T19:53:00.532" v="19721" actId="115"/>
          <ac:spMkLst>
            <pc:docMk/>
            <pc:sldMk cId="1048505515" sldId="2146846389"/>
            <ac:spMk id="7" creationId="{39AA71CF-08AD-0070-5A05-46979ADD10E0}"/>
          </ac:spMkLst>
        </pc:spChg>
        <pc:spChg chg="add mod">
          <ac:chgData name="Md Fahim Hasan" userId="92968fce-d4dd-4b9e-8635-66a07c9f98a7" providerId="ADAL" clId="{3A6F4128-6482-4C75-8C7D-220A75826C22}" dt="2023-07-26T22:50:25.799" v="30912" actId="20577"/>
          <ac:spMkLst>
            <pc:docMk/>
            <pc:sldMk cId="1048505515" sldId="2146846389"/>
            <ac:spMk id="10" creationId="{72CA6DE6-AD04-A276-24A1-06F9C3411A4B}"/>
          </ac:spMkLst>
        </pc:spChg>
        <pc:spChg chg="del mod">
          <ac:chgData name="Md Fahim Hasan" userId="92968fce-d4dd-4b9e-8635-66a07c9f98a7" providerId="ADAL" clId="{3A6F4128-6482-4C75-8C7D-220A75826C22}" dt="2023-07-26T21:58:14.679" v="30794" actId="478"/>
          <ac:spMkLst>
            <pc:docMk/>
            <pc:sldMk cId="1048505515" sldId="2146846389"/>
            <ac:spMk id="19" creationId="{688695E6-03F4-CEE4-56E6-1BA85F5F2FA3}"/>
          </ac:spMkLst>
        </pc:spChg>
        <pc:spChg chg="del">
          <ac:chgData name="Md Fahim Hasan" userId="92968fce-d4dd-4b9e-8635-66a07c9f98a7" providerId="ADAL" clId="{3A6F4128-6482-4C75-8C7D-220A75826C22}" dt="2023-07-26T21:58:14.679" v="30794" actId="478"/>
          <ac:spMkLst>
            <pc:docMk/>
            <pc:sldMk cId="1048505515" sldId="2146846389"/>
            <ac:spMk id="20" creationId="{040BCA99-2FFF-618A-ADD3-A00006589972}"/>
          </ac:spMkLst>
        </pc:spChg>
        <pc:spChg chg="del">
          <ac:chgData name="Md Fahim Hasan" userId="92968fce-d4dd-4b9e-8635-66a07c9f98a7" providerId="ADAL" clId="{3A6F4128-6482-4C75-8C7D-220A75826C22}" dt="2023-07-26T21:58:14.679" v="30794" actId="478"/>
          <ac:spMkLst>
            <pc:docMk/>
            <pc:sldMk cId="1048505515" sldId="2146846389"/>
            <ac:spMk id="21" creationId="{98121FFD-BBA3-C6B1-9D6D-86E506BF8E8B}"/>
          </ac:spMkLst>
        </pc:spChg>
        <pc:picChg chg="mod">
          <ac:chgData name="Md Fahim Hasan" userId="92968fce-d4dd-4b9e-8635-66a07c9f98a7" providerId="ADAL" clId="{3A6F4128-6482-4C75-8C7D-220A75826C22}" dt="2023-07-26T23:44:29.835" v="30952" actId="14826"/>
          <ac:picMkLst>
            <pc:docMk/>
            <pc:sldMk cId="1048505515" sldId="2146846389"/>
            <ac:picMk id="3" creationId="{72FDB37B-E1DB-C812-CAB0-7BE1829D147F}"/>
          </ac:picMkLst>
        </pc:picChg>
        <pc:picChg chg="mod">
          <ac:chgData name="Md Fahim Hasan" userId="92968fce-d4dd-4b9e-8635-66a07c9f98a7" providerId="ADAL" clId="{3A6F4128-6482-4C75-8C7D-220A75826C22}" dt="2023-07-26T23:43:07.814" v="30949" actId="14826"/>
          <ac:picMkLst>
            <pc:docMk/>
            <pc:sldMk cId="1048505515" sldId="2146846389"/>
            <ac:picMk id="6" creationId="{B09638A6-6111-A6EC-914F-C98B17862DE6}"/>
          </ac:picMkLst>
        </pc:picChg>
        <pc:picChg chg="mod">
          <ac:chgData name="Md Fahim Hasan" userId="92968fce-d4dd-4b9e-8635-66a07c9f98a7" providerId="ADAL" clId="{3A6F4128-6482-4C75-8C7D-220A75826C22}" dt="2023-07-26T22:00:25.416" v="30797" actId="14826"/>
          <ac:picMkLst>
            <pc:docMk/>
            <pc:sldMk cId="1048505515" sldId="2146846389"/>
            <ac:picMk id="8" creationId="{1F7DC9F6-9984-9A8A-6C84-FC2CCC04B586}"/>
          </ac:picMkLst>
        </pc:picChg>
      </pc:sldChg>
      <pc:sldChg chg="addSp delSp modSp add del mod setBg delAnim modAnim modNotesTx">
        <pc:chgData name="Md Fahim Hasan" userId="92968fce-d4dd-4b9e-8635-66a07c9f98a7" providerId="ADAL" clId="{3A6F4128-6482-4C75-8C7D-220A75826C22}" dt="2023-07-25T18:59:14.378" v="19450" actId="2696"/>
        <pc:sldMkLst>
          <pc:docMk/>
          <pc:sldMk cId="1226472905" sldId="2146846389"/>
        </pc:sldMkLst>
        <pc:spChg chg="add mod">
          <ac:chgData name="Md Fahim Hasan" userId="92968fce-d4dd-4b9e-8635-66a07c9f98a7" providerId="ADAL" clId="{3A6F4128-6482-4C75-8C7D-220A75826C22}" dt="2023-07-25T18:59:01.863" v="19447" actId="115"/>
          <ac:spMkLst>
            <pc:docMk/>
            <pc:sldMk cId="1226472905" sldId="2146846389"/>
            <ac:spMk id="4" creationId="{506E6838-E7FB-7E52-6860-B01540E41B95}"/>
          </ac:spMkLst>
        </pc:spChg>
        <pc:spChg chg="del mod">
          <ac:chgData name="Md Fahim Hasan" userId="92968fce-d4dd-4b9e-8635-66a07c9f98a7" providerId="ADAL" clId="{3A6F4128-6482-4C75-8C7D-220A75826C22}" dt="2023-07-18T14:51:13.441" v="3554" actId="478"/>
          <ac:spMkLst>
            <pc:docMk/>
            <pc:sldMk cId="1226472905" sldId="2146846389"/>
            <ac:spMk id="4" creationId="{59A6018B-9E1B-2CF1-7DA2-59B339EE12B2}"/>
          </ac:spMkLst>
        </pc:spChg>
        <pc:spChg chg="mod">
          <ac:chgData name="Md Fahim Hasan" userId="92968fce-d4dd-4b9e-8635-66a07c9f98a7" providerId="ADAL" clId="{3A6F4128-6482-4C75-8C7D-220A75826C22}" dt="2023-07-20T14:34:06.528" v="7902" actId="20577"/>
          <ac:spMkLst>
            <pc:docMk/>
            <pc:sldMk cId="1226472905" sldId="2146846389"/>
            <ac:spMk id="9" creationId="{DCE765C9-F866-A10C-05BC-B0F5CF7D4FA9}"/>
          </ac:spMkLst>
        </pc:spChg>
        <pc:spChg chg="add del mod">
          <ac:chgData name="Md Fahim Hasan" userId="92968fce-d4dd-4b9e-8635-66a07c9f98a7" providerId="ADAL" clId="{3A6F4128-6482-4C75-8C7D-220A75826C22}" dt="2023-07-21T22:34:12.347" v="13587" actId="21"/>
          <ac:spMkLst>
            <pc:docMk/>
            <pc:sldMk cId="1226472905" sldId="2146846389"/>
            <ac:spMk id="10" creationId="{DDD763E9-CE6D-7E6C-735D-E01DF9793F16}"/>
          </ac:spMkLst>
        </pc:spChg>
        <pc:spChg chg="add del">
          <ac:chgData name="Md Fahim Hasan" userId="92968fce-d4dd-4b9e-8635-66a07c9f98a7" providerId="ADAL" clId="{3A6F4128-6482-4C75-8C7D-220A75826C22}" dt="2023-07-18T15:01:29.689" v="3570" actId="26606"/>
          <ac:spMkLst>
            <pc:docMk/>
            <pc:sldMk cId="1226472905" sldId="2146846389"/>
            <ac:spMk id="11" creationId="{8C886788-700E-4D20-9F80-E0E96837A203}"/>
          </ac:spMkLst>
        </pc:spChg>
        <pc:spChg chg="add del">
          <ac:chgData name="Md Fahim Hasan" userId="92968fce-d4dd-4b9e-8635-66a07c9f98a7" providerId="ADAL" clId="{3A6F4128-6482-4C75-8C7D-220A75826C22}" dt="2023-07-18T15:01:29.689" v="3570" actId="26606"/>
          <ac:spMkLst>
            <pc:docMk/>
            <pc:sldMk cId="1226472905" sldId="2146846389"/>
            <ac:spMk id="12" creationId="{BCE4FF05-2B0C-4C97-A9B4-E163085A90E1}"/>
          </ac:spMkLst>
        </pc:spChg>
        <pc:spChg chg="add del">
          <ac:chgData name="Md Fahim Hasan" userId="92968fce-d4dd-4b9e-8635-66a07c9f98a7" providerId="ADAL" clId="{3A6F4128-6482-4C75-8C7D-220A75826C22}" dt="2023-07-18T15:01:29.689" v="3570" actId="26606"/>
          <ac:spMkLst>
            <pc:docMk/>
            <pc:sldMk cId="1226472905" sldId="2146846389"/>
            <ac:spMk id="13" creationId="{529C2A7A-A6B6-4A56-B11C-8E967D88A60D}"/>
          </ac:spMkLst>
        </pc:spChg>
        <pc:spChg chg="del mod">
          <ac:chgData name="Md Fahim Hasan" userId="92968fce-d4dd-4b9e-8635-66a07c9f98a7" providerId="ADAL" clId="{3A6F4128-6482-4C75-8C7D-220A75826C22}" dt="2023-07-18T14:51:16.432" v="3556" actId="478"/>
          <ac:spMkLst>
            <pc:docMk/>
            <pc:sldMk cId="1226472905" sldId="2146846389"/>
            <ac:spMk id="14" creationId="{C1FF783D-9D48-5F9F-F53C-427DF5C7F34C}"/>
          </ac:spMkLst>
        </pc:spChg>
        <pc:spChg chg="add del">
          <ac:chgData name="Md Fahim Hasan" userId="92968fce-d4dd-4b9e-8635-66a07c9f98a7" providerId="ADAL" clId="{3A6F4128-6482-4C75-8C7D-220A75826C22}" dt="2023-07-18T15:01:35.751" v="3572" actId="26606"/>
          <ac:spMkLst>
            <pc:docMk/>
            <pc:sldMk cId="1226472905" sldId="2146846389"/>
            <ac:spMk id="15" creationId="{7C98A213-5994-475E-B327-DC6EC27FBA8B}"/>
          </ac:spMkLst>
        </pc:spChg>
        <pc:spChg chg="add del">
          <ac:chgData name="Md Fahim Hasan" userId="92968fce-d4dd-4b9e-8635-66a07c9f98a7" providerId="ADAL" clId="{3A6F4128-6482-4C75-8C7D-220A75826C22}" dt="2023-07-18T15:01:29.689" v="3570" actId="26606"/>
          <ac:spMkLst>
            <pc:docMk/>
            <pc:sldMk cId="1226472905" sldId="2146846389"/>
            <ac:spMk id="16" creationId="{1850674C-4E08-4C62-A3E2-6337FE4F7D86}"/>
          </ac:spMkLst>
        </pc:spChg>
        <pc:spChg chg="add del">
          <ac:chgData name="Md Fahim Hasan" userId="92968fce-d4dd-4b9e-8635-66a07c9f98a7" providerId="ADAL" clId="{3A6F4128-6482-4C75-8C7D-220A75826C22}" dt="2023-07-18T15:01:35.751" v="3572" actId="26606"/>
          <ac:spMkLst>
            <pc:docMk/>
            <pc:sldMk cId="1226472905" sldId="2146846389"/>
            <ac:spMk id="17" creationId="{4B030A0D-0DAD-4A99-89BB-419527D6A64B}"/>
          </ac:spMkLst>
        </pc:spChg>
        <pc:spChg chg="del mod">
          <ac:chgData name="Md Fahim Hasan" userId="92968fce-d4dd-4b9e-8635-66a07c9f98a7" providerId="ADAL" clId="{3A6F4128-6482-4C75-8C7D-220A75826C22}" dt="2023-07-18T14:51:14.729" v="3555" actId="478"/>
          <ac:spMkLst>
            <pc:docMk/>
            <pc:sldMk cId="1226472905" sldId="2146846389"/>
            <ac:spMk id="18" creationId="{40D5597F-54EF-1475-073B-DAC1B7EDD096}"/>
          </ac:spMkLst>
        </pc:spChg>
        <pc:spChg chg="add mod">
          <ac:chgData name="Md Fahim Hasan" userId="92968fce-d4dd-4b9e-8635-66a07c9f98a7" providerId="ADAL" clId="{3A6F4128-6482-4C75-8C7D-220A75826C22}" dt="2023-07-21T23:03:43.994" v="13995" actId="1076"/>
          <ac:spMkLst>
            <pc:docMk/>
            <pc:sldMk cId="1226472905" sldId="2146846389"/>
            <ac:spMk id="19" creationId="{688695E6-03F4-CEE4-56E6-1BA85F5F2FA3}"/>
          </ac:spMkLst>
        </pc:spChg>
        <pc:spChg chg="add mod">
          <ac:chgData name="Md Fahim Hasan" userId="92968fce-d4dd-4b9e-8635-66a07c9f98a7" providerId="ADAL" clId="{3A6F4128-6482-4C75-8C7D-220A75826C22}" dt="2023-07-21T23:12:03.109" v="14031" actId="1076"/>
          <ac:spMkLst>
            <pc:docMk/>
            <pc:sldMk cId="1226472905" sldId="2146846389"/>
            <ac:spMk id="20" creationId="{040BCA99-2FFF-618A-ADD3-A00006589972}"/>
          </ac:spMkLst>
        </pc:spChg>
        <pc:spChg chg="del mod">
          <ac:chgData name="Md Fahim Hasan" userId="92968fce-d4dd-4b9e-8635-66a07c9f98a7" providerId="ADAL" clId="{3A6F4128-6482-4C75-8C7D-220A75826C22}" dt="2023-07-17T23:28:52.519" v="3284" actId="478"/>
          <ac:spMkLst>
            <pc:docMk/>
            <pc:sldMk cId="1226472905" sldId="2146846389"/>
            <ac:spMk id="20" creationId="{D8E263AE-6047-CA16-0E7E-853CAB8E6BF3}"/>
          </ac:spMkLst>
        </pc:spChg>
        <pc:spChg chg="add mod">
          <ac:chgData name="Md Fahim Hasan" userId="92968fce-d4dd-4b9e-8635-66a07c9f98a7" providerId="ADAL" clId="{3A6F4128-6482-4C75-8C7D-220A75826C22}" dt="2023-07-21T23:03:35.118" v="13993" actId="1076"/>
          <ac:spMkLst>
            <pc:docMk/>
            <pc:sldMk cId="1226472905" sldId="2146846389"/>
            <ac:spMk id="21" creationId="{98121FFD-BBA3-C6B1-9D6D-86E506BF8E8B}"/>
          </ac:spMkLst>
        </pc:spChg>
        <pc:spChg chg="add del">
          <ac:chgData name="Md Fahim Hasan" userId="92968fce-d4dd-4b9e-8635-66a07c9f98a7" providerId="ADAL" clId="{3A6F4128-6482-4C75-8C7D-220A75826C22}" dt="2023-07-18T15:01:29.689" v="3570" actId="26606"/>
          <ac:spMkLst>
            <pc:docMk/>
            <pc:sldMk cId="1226472905" sldId="2146846389"/>
            <ac:spMk id="22" creationId="{FDBD7205-E536-4134-8768-AC3E1A3C5E59}"/>
          </ac:spMkLst>
        </pc:spChg>
        <pc:picChg chg="add mod ord">
          <ac:chgData name="Md Fahim Hasan" userId="92968fce-d4dd-4b9e-8635-66a07c9f98a7" providerId="ADAL" clId="{3A6F4128-6482-4C75-8C7D-220A75826C22}" dt="2023-07-21T23:03:24.513" v="13991" actId="1076"/>
          <ac:picMkLst>
            <pc:docMk/>
            <pc:sldMk cId="1226472905" sldId="2146846389"/>
            <ac:picMk id="3" creationId="{72FDB37B-E1DB-C812-CAB0-7BE1829D147F}"/>
          </ac:picMkLst>
        </pc:picChg>
        <pc:picChg chg="add mod">
          <ac:chgData name="Md Fahim Hasan" userId="92968fce-d4dd-4b9e-8635-66a07c9f98a7" providerId="ADAL" clId="{3A6F4128-6482-4C75-8C7D-220A75826C22}" dt="2023-07-21T23:12:03.109" v="14031" actId="1076"/>
          <ac:picMkLst>
            <pc:docMk/>
            <pc:sldMk cId="1226472905" sldId="2146846389"/>
            <ac:picMk id="6" creationId="{B09638A6-6111-A6EC-914F-C98B17862DE6}"/>
          </ac:picMkLst>
        </pc:picChg>
        <pc:picChg chg="add mod ord">
          <ac:chgData name="Md Fahim Hasan" userId="92968fce-d4dd-4b9e-8635-66a07c9f98a7" providerId="ADAL" clId="{3A6F4128-6482-4C75-8C7D-220A75826C22}" dt="2023-07-21T23:03:13.580" v="13989" actId="1076"/>
          <ac:picMkLst>
            <pc:docMk/>
            <pc:sldMk cId="1226472905" sldId="2146846389"/>
            <ac:picMk id="8" creationId="{1F7DC9F6-9984-9A8A-6C84-FC2CCC04B586}"/>
          </ac:picMkLst>
        </pc:picChg>
        <pc:cxnChg chg="add del mod">
          <ac:chgData name="Md Fahim Hasan" userId="92968fce-d4dd-4b9e-8635-66a07c9f98a7" providerId="ADAL" clId="{3A6F4128-6482-4C75-8C7D-220A75826C22}" dt="2023-07-21T23:03:15.154" v="13990" actId="478"/>
          <ac:cxnSpMkLst>
            <pc:docMk/>
            <pc:sldMk cId="1226472905" sldId="2146846389"/>
            <ac:cxnSpMk id="24" creationId="{99D01E62-F77D-E62A-0C2D-824A66B5AD7B}"/>
          </ac:cxnSpMkLst>
        </pc:cxnChg>
      </pc:sldChg>
      <pc:sldChg chg="addSp modSp add mod ord modAnim modNotesTx">
        <pc:chgData name="Md Fahim Hasan" userId="92968fce-d4dd-4b9e-8635-66a07c9f98a7" providerId="ADAL" clId="{3A6F4128-6482-4C75-8C7D-220A75826C22}" dt="2023-07-27T15:51:58.279" v="35706"/>
        <pc:sldMkLst>
          <pc:docMk/>
          <pc:sldMk cId="2477569122" sldId="2146846390"/>
        </pc:sldMkLst>
        <pc:spChg chg="mod">
          <ac:chgData name="Md Fahim Hasan" userId="92968fce-d4dd-4b9e-8635-66a07c9f98a7" providerId="ADAL" clId="{3A6F4128-6482-4C75-8C7D-220A75826C22}" dt="2023-07-27T15:51:58.279" v="35706"/>
          <ac:spMkLst>
            <pc:docMk/>
            <pc:sldMk cId="2477569122" sldId="2146846390"/>
            <ac:spMk id="2" creationId="{01022AA2-4ED6-33F1-DCC7-83E7BA387B4B}"/>
          </ac:spMkLst>
        </pc:spChg>
        <pc:spChg chg="add mod">
          <ac:chgData name="Md Fahim Hasan" userId="92968fce-d4dd-4b9e-8635-66a07c9f98a7" providerId="ADAL" clId="{3A6F4128-6482-4C75-8C7D-220A75826C22}" dt="2023-07-25T18:49:18.796" v="19113" actId="13822"/>
          <ac:spMkLst>
            <pc:docMk/>
            <pc:sldMk cId="2477569122" sldId="2146846390"/>
            <ac:spMk id="3" creationId="{82FC25AD-18AE-B2B3-F3B0-2C8C399F9ACC}"/>
          </ac:spMkLst>
        </pc:spChg>
        <pc:spChg chg="mod">
          <ac:chgData name="Md Fahim Hasan" userId="92968fce-d4dd-4b9e-8635-66a07c9f98a7" providerId="ADAL" clId="{3A6F4128-6482-4C75-8C7D-220A75826C22}" dt="2023-07-24T18:16:54.647" v="17525" actId="20577"/>
          <ac:spMkLst>
            <pc:docMk/>
            <pc:sldMk cId="2477569122" sldId="2146846390"/>
            <ac:spMk id="4" creationId="{59A6018B-9E1B-2CF1-7DA2-59B339EE12B2}"/>
          </ac:spMkLst>
        </pc:spChg>
        <pc:spChg chg="add mod">
          <ac:chgData name="Md Fahim Hasan" userId="92968fce-d4dd-4b9e-8635-66a07c9f98a7" providerId="ADAL" clId="{3A6F4128-6482-4C75-8C7D-220A75826C22}" dt="2023-07-25T18:48:55.693" v="19108" actId="14100"/>
          <ac:spMkLst>
            <pc:docMk/>
            <pc:sldMk cId="2477569122" sldId="2146846390"/>
            <ac:spMk id="5" creationId="{BB2E9326-B87B-561A-0C43-2FA1589C1E1C}"/>
          </ac:spMkLst>
        </pc:spChg>
        <pc:spChg chg="mod">
          <ac:chgData name="Md Fahim Hasan" userId="92968fce-d4dd-4b9e-8635-66a07c9f98a7" providerId="ADAL" clId="{3A6F4128-6482-4C75-8C7D-220A75826C22}" dt="2023-07-25T17:02:45.467" v="18214" actId="20577"/>
          <ac:spMkLst>
            <pc:docMk/>
            <pc:sldMk cId="2477569122" sldId="2146846390"/>
            <ac:spMk id="9" creationId="{DCE765C9-F866-A10C-05BC-B0F5CF7D4FA9}"/>
          </ac:spMkLst>
        </pc:spChg>
        <pc:spChg chg="add mod">
          <ac:chgData name="Md Fahim Hasan" userId="92968fce-d4dd-4b9e-8635-66a07c9f98a7" providerId="ADAL" clId="{3A6F4128-6482-4C75-8C7D-220A75826C22}" dt="2023-07-25T21:18:04.505" v="21171" actId="20577"/>
          <ac:spMkLst>
            <pc:docMk/>
            <pc:sldMk cId="2477569122" sldId="2146846390"/>
            <ac:spMk id="10" creationId="{454EFFA5-D86E-C126-6656-4E36F38880CE}"/>
          </ac:spMkLst>
        </pc:spChg>
        <pc:cxnChg chg="add mod">
          <ac:chgData name="Md Fahim Hasan" userId="92968fce-d4dd-4b9e-8635-66a07c9f98a7" providerId="ADAL" clId="{3A6F4128-6482-4C75-8C7D-220A75826C22}" dt="2023-07-25T18:49:23.209" v="19115" actId="13822"/>
          <ac:cxnSpMkLst>
            <pc:docMk/>
            <pc:sldMk cId="2477569122" sldId="2146846390"/>
            <ac:cxnSpMk id="7" creationId="{CABDFA14-5BEF-5327-5B2E-74E7D0B33773}"/>
          </ac:cxnSpMkLst>
        </pc:cxnChg>
      </pc:sldChg>
      <pc:sldChg chg="add del">
        <pc:chgData name="Md Fahim Hasan" userId="92968fce-d4dd-4b9e-8635-66a07c9f98a7" providerId="ADAL" clId="{3A6F4128-6482-4C75-8C7D-220A75826C22}" dt="2023-07-25T20:22:09.783" v="20413" actId="47"/>
        <pc:sldMkLst>
          <pc:docMk/>
          <pc:sldMk cId="2384319272" sldId="2146846391"/>
        </pc:sldMkLst>
      </pc:sldChg>
      <pc:sldChg chg="addSp delSp modSp add del mod addAnim delAnim modAnim modNotesTx">
        <pc:chgData name="Md Fahim Hasan" userId="92968fce-d4dd-4b9e-8635-66a07c9f98a7" providerId="ADAL" clId="{3A6F4128-6482-4C75-8C7D-220A75826C22}" dt="2023-07-25T18:59:14.378" v="19450" actId="2696"/>
        <pc:sldMkLst>
          <pc:docMk/>
          <pc:sldMk cId="2886677831" sldId="2146846391"/>
        </pc:sldMkLst>
        <pc:spChg chg="mod">
          <ac:chgData name="Md Fahim Hasan" userId="92968fce-d4dd-4b9e-8635-66a07c9f98a7" providerId="ADAL" clId="{3A6F4128-6482-4C75-8C7D-220A75826C22}" dt="2023-07-20T14:34:11.558" v="7904" actId="20577"/>
          <ac:spMkLst>
            <pc:docMk/>
            <pc:sldMk cId="2886677831" sldId="2146846391"/>
            <ac:spMk id="9" creationId="{DCE765C9-F866-A10C-05BC-B0F5CF7D4FA9}"/>
          </ac:spMkLst>
        </pc:spChg>
        <pc:spChg chg="del">
          <ac:chgData name="Md Fahim Hasan" userId="92968fce-d4dd-4b9e-8635-66a07c9f98a7" providerId="ADAL" clId="{3A6F4128-6482-4C75-8C7D-220A75826C22}" dt="2023-07-18T16:07:38.001" v="4025" actId="478"/>
          <ac:spMkLst>
            <pc:docMk/>
            <pc:sldMk cId="2886677831" sldId="2146846391"/>
            <ac:spMk id="10" creationId="{DDD763E9-CE6D-7E6C-735D-E01DF9793F16}"/>
          </ac:spMkLst>
        </pc:spChg>
        <pc:spChg chg="add mod">
          <ac:chgData name="Md Fahim Hasan" userId="92968fce-d4dd-4b9e-8635-66a07c9f98a7" providerId="ADAL" clId="{3A6F4128-6482-4C75-8C7D-220A75826C22}" dt="2023-07-18T17:53:07.170" v="4334" actId="115"/>
          <ac:spMkLst>
            <pc:docMk/>
            <pc:sldMk cId="2886677831" sldId="2146846391"/>
            <ac:spMk id="11" creationId="{34104EF3-AE2A-10CD-807A-5E8D98642890}"/>
          </ac:spMkLst>
        </pc:spChg>
        <pc:spChg chg="add mod">
          <ac:chgData name="Md Fahim Hasan" userId="92968fce-d4dd-4b9e-8635-66a07c9f98a7" providerId="ADAL" clId="{3A6F4128-6482-4C75-8C7D-220A75826C22}" dt="2023-07-18T17:53:38.677" v="4339" actId="115"/>
          <ac:spMkLst>
            <pc:docMk/>
            <pc:sldMk cId="2886677831" sldId="2146846391"/>
            <ac:spMk id="12" creationId="{563AE502-BE2B-F7DC-8070-3C524C7FC52F}"/>
          </ac:spMkLst>
        </pc:spChg>
        <pc:spChg chg="add mod">
          <ac:chgData name="Md Fahim Hasan" userId="92968fce-d4dd-4b9e-8635-66a07c9f98a7" providerId="ADAL" clId="{3A6F4128-6482-4C75-8C7D-220A75826C22}" dt="2023-07-18T17:53:11.859" v="4335" actId="115"/>
          <ac:spMkLst>
            <pc:docMk/>
            <pc:sldMk cId="2886677831" sldId="2146846391"/>
            <ac:spMk id="15" creationId="{A831B13C-8409-F4FA-2FD1-7B0D4DD54039}"/>
          </ac:spMkLst>
        </pc:spChg>
        <pc:spChg chg="add mod">
          <ac:chgData name="Md Fahim Hasan" userId="92968fce-d4dd-4b9e-8635-66a07c9f98a7" providerId="ADAL" clId="{3A6F4128-6482-4C75-8C7D-220A75826C22}" dt="2023-07-18T17:53:43.891" v="4340" actId="115"/>
          <ac:spMkLst>
            <pc:docMk/>
            <pc:sldMk cId="2886677831" sldId="2146846391"/>
            <ac:spMk id="16" creationId="{74FA2828-4265-79AB-6956-60772E0CBF25}"/>
          </ac:spMkLst>
        </pc:spChg>
        <pc:spChg chg="del">
          <ac:chgData name="Md Fahim Hasan" userId="92968fce-d4dd-4b9e-8635-66a07c9f98a7" providerId="ADAL" clId="{3A6F4128-6482-4C75-8C7D-220A75826C22}" dt="2023-07-18T16:07:45.047" v="4030" actId="478"/>
          <ac:spMkLst>
            <pc:docMk/>
            <pc:sldMk cId="2886677831" sldId="2146846391"/>
            <ac:spMk id="19" creationId="{688695E6-03F4-CEE4-56E6-1BA85F5F2FA3}"/>
          </ac:spMkLst>
        </pc:spChg>
        <pc:spChg chg="del">
          <ac:chgData name="Md Fahim Hasan" userId="92968fce-d4dd-4b9e-8635-66a07c9f98a7" providerId="ADAL" clId="{3A6F4128-6482-4C75-8C7D-220A75826C22}" dt="2023-07-18T16:07:46.834" v="4031" actId="478"/>
          <ac:spMkLst>
            <pc:docMk/>
            <pc:sldMk cId="2886677831" sldId="2146846391"/>
            <ac:spMk id="20" creationId="{040BCA99-2FFF-618A-ADD3-A00006589972}"/>
          </ac:spMkLst>
        </pc:spChg>
        <pc:spChg chg="del">
          <ac:chgData name="Md Fahim Hasan" userId="92968fce-d4dd-4b9e-8635-66a07c9f98a7" providerId="ADAL" clId="{3A6F4128-6482-4C75-8C7D-220A75826C22}" dt="2023-07-18T16:07:49.290" v="4033" actId="478"/>
          <ac:spMkLst>
            <pc:docMk/>
            <pc:sldMk cId="2886677831" sldId="2146846391"/>
            <ac:spMk id="21" creationId="{98121FFD-BBA3-C6B1-9D6D-86E506BF8E8B}"/>
          </ac:spMkLst>
        </pc:spChg>
        <pc:picChg chg="del">
          <ac:chgData name="Md Fahim Hasan" userId="92968fce-d4dd-4b9e-8635-66a07c9f98a7" providerId="ADAL" clId="{3A6F4128-6482-4C75-8C7D-220A75826C22}" dt="2023-07-18T16:07:50.055" v="4034" actId="478"/>
          <ac:picMkLst>
            <pc:docMk/>
            <pc:sldMk cId="2886677831" sldId="2146846391"/>
            <ac:picMk id="3" creationId="{72FDB37B-E1DB-C812-CAB0-7BE1829D147F}"/>
          </ac:picMkLst>
        </pc:picChg>
        <pc:picChg chg="add mod">
          <ac:chgData name="Md Fahim Hasan" userId="92968fce-d4dd-4b9e-8635-66a07c9f98a7" providerId="ADAL" clId="{3A6F4128-6482-4C75-8C7D-220A75826C22}" dt="2023-07-18T17:23:24.822" v="4130" actId="1076"/>
          <ac:picMkLst>
            <pc:docMk/>
            <pc:sldMk cId="2886677831" sldId="2146846391"/>
            <ac:picMk id="4" creationId="{1B7C3091-DEA4-66D1-884C-6CB2FD58DBE7}"/>
          </ac:picMkLst>
        </pc:picChg>
        <pc:picChg chg="add del">
          <ac:chgData name="Md Fahim Hasan" userId="92968fce-d4dd-4b9e-8635-66a07c9f98a7" providerId="ADAL" clId="{3A6F4128-6482-4C75-8C7D-220A75826C22}" dt="2023-07-18T16:07:47.548" v="4032" actId="478"/>
          <ac:picMkLst>
            <pc:docMk/>
            <pc:sldMk cId="2886677831" sldId="2146846391"/>
            <ac:picMk id="6" creationId="{B09638A6-6111-A6EC-914F-C98B17862DE6}"/>
          </ac:picMkLst>
        </pc:picChg>
        <pc:picChg chg="add mod">
          <ac:chgData name="Md Fahim Hasan" userId="92968fce-d4dd-4b9e-8635-66a07c9f98a7" providerId="ADAL" clId="{3A6F4128-6482-4C75-8C7D-220A75826C22}" dt="2023-07-18T17:23:05.798" v="4127" actId="14826"/>
          <ac:picMkLst>
            <pc:docMk/>
            <pc:sldMk cId="2886677831" sldId="2146846391"/>
            <ac:picMk id="7" creationId="{B5713B37-2314-473A-D0AE-587C49D1AB77}"/>
          </ac:picMkLst>
        </pc:picChg>
        <pc:picChg chg="del">
          <ac:chgData name="Md Fahim Hasan" userId="92968fce-d4dd-4b9e-8635-66a07c9f98a7" providerId="ADAL" clId="{3A6F4128-6482-4C75-8C7D-220A75826C22}" dt="2023-07-18T16:07:36.546" v="4024" actId="478"/>
          <ac:picMkLst>
            <pc:docMk/>
            <pc:sldMk cId="2886677831" sldId="2146846391"/>
            <ac:picMk id="8" creationId="{1F7DC9F6-9984-9A8A-6C84-FC2CCC04B586}"/>
          </ac:picMkLst>
        </pc:picChg>
        <pc:picChg chg="add mod">
          <ac:chgData name="Md Fahim Hasan" userId="92968fce-d4dd-4b9e-8635-66a07c9f98a7" providerId="ADAL" clId="{3A6F4128-6482-4C75-8C7D-220A75826C22}" dt="2023-07-18T17:24:06.369" v="4136" actId="14826"/>
          <ac:picMkLst>
            <pc:docMk/>
            <pc:sldMk cId="2886677831" sldId="2146846391"/>
            <ac:picMk id="13" creationId="{46FD433A-9C17-B9F2-33F5-318B3A425069}"/>
          </ac:picMkLst>
        </pc:picChg>
        <pc:picChg chg="add mod">
          <ac:chgData name="Md Fahim Hasan" userId="92968fce-d4dd-4b9e-8635-66a07c9f98a7" providerId="ADAL" clId="{3A6F4128-6482-4C75-8C7D-220A75826C22}" dt="2023-07-18T17:23:56.154" v="4135" actId="14826"/>
          <ac:picMkLst>
            <pc:docMk/>
            <pc:sldMk cId="2886677831" sldId="2146846391"/>
            <ac:picMk id="14" creationId="{D31D8173-1F85-39E6-CA70-70E6E8DBB3C5}"/>
          </ac:picMkLst>
        </pc:picChg>
        <pc:cxnChg chg="add del mod">
          <ac:chgData name="Md Fahim Hasan" userId="92968fce-d4dd-4b9e-8635-66a07c9f98a7" providerId="ADAL" clId="{3A6F4128-6482-4C75-8C7D-220A75826C22}" dt="2023-07-18T16:07:55.777" v="4035" actId="1076"/>
          <ac:cxnSpMkLst>
            <pc:docMk/>
            <pc:sldMk cId="2886677831" sldId="2146846391"/>
            <ac:cxnSpMk id="24" creationId="{99D01E62-F77D-E62A-0C2D-824A66B5AD7B}"/>
          </ac:cxnSpMkLst>
        </pc:cxnChg>
      </pc:sldChg>
      <pc:sldChg chg="addSp delSp modSp add mod delAnim modAnim modNotesTx">
        <pc:chgData name="Md Fahim Hasan" userId="92968fce-d4dd-4b9e-8635-66a07c9f98a7" providerId="ADAL" clId="{3A6F4128-6482-4C75-8C7D-220A75826C22}" dt="2023-07-27T19:40:38.857" v="37508"/>
        <pc:sldMkLst>
          <pc:docMk/>
          <pc:sldMk cId="2208349164" sldId="2146846392"/>
        </pc:sldMkLst>
        <pc:spChg chg="mod">
          <ac:chgData name="Md Fahim Hasan" userId="92968fce-d4dd-4b9e-8635-66a07c9f98a7" providerId="ADAL" clId="{3A6F4128-6482-4C75-8C7D-220A75826C22}" dt="2023-07-27T15:51:58.279" v="35706"/>
          <ac:spMkLst>
            <pc:docMk/>
            <pc:sldMk cId="2208349164" sldId="2146846392"/>
            <ac:spMk id="2" creationId="{E6BEB49A-2464-E7CC-0559-7A1ACBF185C0}"/>
          </ac:spMkLst>
        </pc:spChg>
        <pc:spChg chg="add mod">
          <ac:chgData name="Md Fahim Hasan" userId="92968fce-d4dd-4b9e-8635-66a07c9f98a7" providerId="ADAL" clId="{3A6F4128-6482-4C75-8C7D-220A75826C22}" dt="2023-07-26T19:46:25.120" v="27526" actId="20577"/>
          <ac:spMkLst>
            <pc:docMk/>
            <pc:sldMk cId="2208349164" sldId="2146846392"/>
            <ac:spMk id="4" creationId="{B4EACCC8-A0AE-2AB6-B07C-62D44ABA8828}"/>
          </ac:spMkLst>
        </pc:spChg>
        <pc:spChg chg="add mod">
          <ac:chgData name="Md Fahim Hasan" userId="92968fce-d4dd-4b9e-8635-66a07c9f98a7" providerId="ADAL" clId="{3A6F4128-6482-4C75-8C7D-220A75826C22}" dt="2023-07-26T22:49:35.451" v="30886" actId="20577"/>
          <ac:spMkLst>
            <pc:docMk/>
            <pc:sldMk cId="2208349164" sldId="2146846392"/>
            <ac:spMk id="5" creationId="{2C4B97AD-3481-D64C-B324-757BD5800ED7}"/>
          </ac:spMkLst>
        </pc:spChg>
        <pc:spChg chg="add mod">
          <ac:chgData name="Md Fahim Hasan" userId="92968fce-d4dd-4b9e-8635-66a07c9f98a7" providerId="ADAL" clId="{3A6F4128-6482-4C75-8C7D-220A75826C22}" dt="2023-07-26T22:49:37.434" v="30887" actId="20577"/>
          <ac:spMkLst>
            <pc:docMk/>
            <pc:sldMk cId="2208349164" sldId="2146846392"/>
            <ac:spMk id="7" creationId="{FF569CC5-F4F5-11D1-7477-3BA17EB63AD1}"/>
          </ac:spMkLst>
        </pc:spChg>
        <pc:spChg chg="mod">
          <ac:chgData name="Md Fahim Hasan" userId="92968fce-d4dd-4b9e-8635-66a07c9f98a7" providerId="ADAL" clId="{3A6F4128-6482-4C75-8C7D-220A75826C22}" dt="2023-07-20T14:34:15.531" v="7907" actId="20577"/>
          <ac:spMkLst>
            <pc:docMk/>
            <pc:sldMk cId="2208349164" sldId="2146846392"/>
            <ac:spMk id="9" creationId="{DCE765C9-F866-A10C-05BC-B0F5CF7D4FA9}"/>
          </ac:spMkLst>
        </pc:spChg>
        <pc:spChg chg="add mod">
          <ac:chgData name="Md Fahim Hasan" userId="92968fce-d4dd-4b9e-8635-66a07c9f98a7" providerId="ADAL" clId="{3A6F4128-6482-4C75-8C7D-220A75826C22}" dt="2023-07-27T19:39:35.143" v="37491" actId="1076"/>
          <ac:spMkLst>
            <pc:docMk/>
            <pc:sldMk cId="2208349164" sldId="2146846392"/>
            <ac:spMk id="10" creationId="{89F62B33-C92D-CA80-B773-7CF7B8562165}"/>
          </ac:spMkLst>
        </pc:spChg>
        <pc:spChg chg="add del mod">
          <ac:chgData name="Md Fahim Hasan" userId="92968fce-d4dd-4b9e-8635-66a07c9f98a7" providerId="ADAL" clId="{3A6F4128-6482-4C75-8C7D-220A75826C22}" dt="2023-07-26T20:17:50.894" v="27974" actId="478"/>
          <ac:spMkLst>
            <pc:docMk/>
            <pc:sldMk cId="2208349164" sldId="2146846392"/>
            <ac:spMk id="10" creationId="{C80E4D77-C530-2F20-2DA2-FD87A5B0CA99}"/>
          </ac:spMkLst>
        </pc:spChg>
        <pc:spChg chg="del mod">
          <ac:chgData name="Md Fahim Hasan" userId="92968fce-d4dd-4b9e-8635-66a07c9f98a7" providerId="ADAL" clId="{3A6F4128-6482-4C75-8C7D-220A75826C22}" dt="2023-07-21T23:04:19.244" v="13997" actId="478"/>
          <ac:spMkLst>
            <pc:docMk/>
            <pc:sldMk cId="2208349164" sldId="2146846392"/>
            <ac:spMk id="10" creationId="{DDD763E9-CE6D-7E6C-735D-E01DF9793F16}"/>
          </ac:spMkLst>
        </pc:spChg>
        <pc:spChg chg="add del mod">
          <ac:chgData name="Md Fahim Hasan" userId="92968fce-d4dd-4b9e-8635-66a07c9f98a7" providerId="ADAL" clId="{3A6F4128-6482-4C75-8C7D-220A75826C22}" dt="2023-07-26T20:01:18.915" v="27972" actId="478"/>
          <ac:spMkLst>
            <pc:docMk/>
            <pc:sldMk cId="2208349164" sldId="2146846392"/>
            <ac:spMk id="11" creationId="{58A8A5C6-D63E-8189-DB12-D1C76789E6FC}"/>
          </ac:spMkLst>
        </pc:spChg>
        <pc:spChg chg="add mod">
          <ac:chgData name="Md Fahim Hasan" userId="92968fce-d4dd-4b9e-8635-66a07c9f98a7" providerId="ADAL" clId="{3A6F4128-6482-4C75-8C7D-220A75826C22}" dt="2023-07-27T19:39:58.019" v="37497" actId="1037"/>
          <ac:spMkLst>
            <pc:docMk/>
            <pc:sldMk cId="2208349164" sldId="2146846392"/>
            <ac:spMk id="11" creationId="{D0B5A9D1-BF3F-73D8-C3F1-1F35EF034257}"/>
          </ac:spMkLst>
        </pc:spChg>
        <pc:spChg chg="add mod">
          <ac:chgData name="Md Fahim Hasan" userId="92968fce-d4dd-4b9e-8635-66a07c9f98a7" providerId="ADAL" clId="{3A6F4128-6482-4C75-8C7D-220A75826C22}" dt="2023-07-27T19:40:17.602" v="37506" actId="1036"/>
          <ac:spMkLst>
            <pc:docMk/>
            <pc:sldMk cId="2208349164" sldId="2146846392"/>
            <ac:spMk id="12" creationId="{1C43CC01-EEB6-8A13-7031-48BEDC3B6F27}"/>
          </ac:spMkLst>
        </pc:spChg>
        <pc:spChg chg="add del mod">
          <ac:chgData name="Md Fahim Hasan" userId="92968fce-d4dd-4b9e-8635-66a07c9f98a7" providerId="ADAL" clId="{3A6F4128-6482-4C75-8C7D-220A75826C22}" dt="2023-07-26T20:01:15.323" v="27971" actId="478"/>
          <ac:spMkLst>
            <pc:docMk/>
            <pc:sldMk cId="2208349164" sldId="2146846392"/>
            <ac:spMk id="12" creationId="{BE73554D-25EF-FF7E-7703-1CAD2FA7F9CA}"/>
          </ac:spMkLst>
        </pc:spChg>
        <pc:spChg chg="add del mod">
          <ac:chgData name="Md Fahim Hasan" userId="92968fce-d4dd-4b9e-8635-66a07c9f98a7" providerId="ADAL" clId="{3A6F4128-6482-4C75-8C7D-220A75826C22}" dt="2023-07-26T22:47:56.729" v="30880"/>
          <ac:spMkLst>
            <pc:docMk/>
            <pc:sldMk cId="2208349164" sldId="2146846392"/>
            <ac:spMk id="13" creationId="{E07A744B-1A2C-6989-86C7-2B1F7734475F}"/>
          </ac:spMkLst>
        </pc:spChg>
        <pc:spChg chg="mod">
          <ac:chgData name="Md Fahim Hasan" userId="92968fce-d4dd-4b9e-8635-66a07c9f98a7" providerId="ADAL" clId="{3A6F4128-6482-4C75-8C7D-220A75826C22}" dt="2023-07-26T22:49:33.642" v="30885" actId="20577"/>
          <ac:spMkLst>
            <pc:docMk/>
            <pc:sldMk cId="2208349164" sldId="2146846392"/>
            <ac:spMk id="19" creationId="{688695E6-03F4-CEE4-56E6-1BA85F5F2FA3}"/>
          </ac:spMkLst>
        </pc:spChg>
        <pc:spChg chg="del mod">
          <ac:chgData name="Md Fahim Hasan" userId="92968fce-d4dd-4b9e-8635-66a07c9f98a7" providerId="ADAL" clId="{3A6F4128-6482-4C75-8C7D-220A75826C22}" dt="2023-07-26T19:19:18.336" v="26499" actId="478"/>
          <ac:spMkLst>
            <pc:docMk/>
            <pc:sldMk cId="2208349164" sldId="2146846392"/>
            <ac:spMk id="20" creationId="{040BCA99-2FFF-618A-ADD3-A00006589972}"/>
          </ac:spMkLst>
        </pc:spChg>
        <pc:spChg chg="del mod">
          <ac:chgData name="Md Fahim Hasan" userId="92968fce-d4dd-4b9e-8635-66a07c9f98a7" providerId="ADAL" clId="{3A6F4128-6482-4C75-8C7D-220A75826C22}" dt="2023-07-26T19:19:46.672" v="26504" actId="478"/>
          <ac:spMkLst>
            <pc:docMk/>
            <pc:sldMk cId="2208349164" sldId="2146846392"/>
            <ac:spMk id="21" creationId="{98121FFD-BBA3-C6B1-9D6D-86E506BF8E8B}"/>
          </ac:spMkLst>
        </pc:spChg>
        <pc:picChg chg="mod">
          <ac:chgData name="Md Fahim Hasan" userId="92968fce-d4dd-4b9e-8635-66a07c9f98a7" providerId="ADAL" clId="{3A6F4128-6482-4C75-8C7D-220A75826C22}" dt="2023-07-26T22:54:47.163" v="30914" actId="14826"/>
          <ac:picMkLst>
            <pc:docMk/>
            <pc:sldMk cId="2208349164" sldId="2146846392"/>
            <ac:picMk id="3" creationId="{72FDB37B-E1DB-C812-CAB0-7BE1829D147F}"/>
          </ac:picMkLst>
        </pc:picChg>
        <pc:picChg chg="mod">
          <ac:chgData name="Md Fahim Hasan" userId="92968fce-d4dd-4b9e-8635-66a07c9f98a7" providerId="ADAL" clId="{3A6F4128-6482-4C75-8C7D-220A75826C22}" dt="2023-07-26T22:54:41.394" v="30913" actId="14826"/>
          <ac:picMkLst>
            <pc:docMk/>
            <pc:sldMk cId="2208349164" sldId="2146846392"/>
            <ac:picMk id="6" creationId="{B09638A6-6111-A6EC-914F-C98B17862DE6}"/>
          </ac:picMkLst>
        </pc:picChg>
        <pc:picChg chg="mod">
          <ac:chgData name="Md Fahim Hasan" userId="92968fce-d4dd-4b9e-8635-66a07c9f98a7" providerId="ADAL" clId="{3A6F4128-6482-4C75-8C7D-220A75826C22}" dt="2023-07-26T20:17:42.056" v="27973" actId="14826"/>
          <ac:picMkLst>
            <pc:docMk/>
            <pc:sldMk cId="2208349164" sldId="2146846392"/>
            <ac:picMk id="8" creationId="{1F7DC9F6-9984-9A8A-6C84-FC2CCC04B586}"/>
          </ac:picMkLst>
        </pc:picChg>
        <pc:cxnChg chg="del">
          <ac:chgData name="Md Fahim Hasan" userId="92968fce-d4dd-4b9e-8635-66a07c9f98a7" providerId="ADAL" clId="{3A6F4128-6482-4C75-8C7D-220A75826C22}" dt="2023-07-21T23:04:28.555" v="13999" actId="478"/>
          <ac:cxnSpMkLst>
            <pc:docMk/>
            <pc:sldMk cId="2208349164" sldId="2146846392"/>
            <ac:cxnSpMk id="24" creationId="{99D01E62-F77D-E62A-0C2D-824A66B5AD7B}"/>
          </ac:cxnSpMkLst>
        </pc:cxnChg>
      </pc:sldChg>
      <pc:sldChg chg="modSp add del mod">
        <pc:chgData name="Md Fahim Hasan" userId="92968fce-d4dd-4b9e-8635-66a07c9f98a7" providerId="ADAL" clId="{3A6F4128-6482-4C75-8C7D-220A75826C22}" dt="2023-07-18T17:38:13.214" v="4256" actId="47"/>
        <pc:sldMkLst>
          <pc:docMk/>
          <pc:sldMk cId="3237477264" sldId="2146846392"/>
        </pc:sldMkLst>
        <pc:spChg chg="mod">
          <ac:chgData name="Md Fahim Hasan" userId="92968fce-d4dd-4b9e-8635-66a07c9f98a7" providerId="ADAL" clId="{3A6F4128-6482-4C75-8C7D-220A75826C22}" dt="2023-07-18T17:37:26.133" v="4253" actId="20577"/>
          <ac:spMkLst>
            <pc:docMk/>
            <pc:sldMk cId="3237477264" sldId="2146846392"/>
            <ac:spMk id="9" creationId="{DCE765C9-F866-A10C-05BC-B0F5CF7D4FA9}"/>
          </ac:spMkLst>
        </pc:spChg>
        <pc:spChg chg="mod">
          <ac:chgData name="Md Fahim Hasan" userId="92968fce-d4dd-4b9e-8635-66a07c9f98a7" providerId="ADAL" clId="{3A6F4128-6482-4C75-8C7D-220A75826C22}" dt="2023-07-18T17:29:54.142" v="4224" actId="20577"/>
          <ac:spMkLst>
            <pc:docMk/>
            <pc:sldMk cId="3237477264" sldId="2146846392"/>
            <ac:spMk id="10" creationId="{DDD763E9-CE6D-7E6C-735D-E01DF9793F16}"/>
          </ac:spMkLst>
        </pc:spChg>
        <pc:spChg chg="mod">
          <ac:chgData name="Md Fahim Hasan" userId="92968fce-d4dd-4b9e-8635-66a07c9f98a7" providerId="ADAL" clId="{3A6F4128-6482-4C75-8C7D-220A75826C22}" dt="2023-07-18T17:27:14.313" v="4221" actId="1035"/>
          <ac:spMkLst>
            <pc:docMk/>
            <pc:sldMk cId="3237477264" sldId="2146846392"/>
            <ac:spMk id="20" creationId="{040BCA99-2FFF-618A-ADD3-A00006589972}"/>
          </ac:spMkLst>
        </pc:spChg>
        <pc:spChg chg="mod">
          <ac:chgData name="Md Fahim Hasan" userId="92968fce-d4dd-4b9e-8635-66a07c9f98a7" providerId="ADAL" clId="{3A6F4128-6482-4C75-8C7D-220A75826C22}" dt="2023-07-18T17:27:14.313" v="4221" actId="1035"/>
          <ac:spMkLst>
            <pc:docMk/>
            <pc:sldMk cId="3237477264" sldId="2146846392"/>
            <ac:spMk id="21" creationId="{98121FFD-BBA3-C6B1-9D6D-86E506BF8E8B}"/>
          </ac:spMkLst>
        </pc:spChg>
        <pc:picChg chg="mod">
          <ac:chgData name="Md Fahim Hasan" userId="92968fce-d4dd-4b9e-8635-66a07c9f98a7" providerId="ADAL" clId="{3A6F4128-6482-4C75-8C7D-220A75826C22}" dt="2023-07-18T17:27:14.313" v="4221" actId="1035"/>
          <ac:picMkLst>
            <pc:docMk/>
            <pc:sldMk cId="3237477264" sldId="2146846392"/>
            <ac:picMk id="3" creationId="{72FDB37B-E1DB-C812-CAB0-7BE1829D147F}"/>
          </ac:picMkLst>
        </pc:picChg>
        <pc:picChg chg="mod">
          <ac:chgData name="Md Fahim Hasan" userId="92968fce-d4dd-4b9e-8635-66a07c9f98a7" providerId="ADAL" clId="{3A6F4128-6482-4C75-8C7D-220A75826C22}" dt="2023-07-18T17:27:14.313" v="4221" actId="1035"/>
          <ac:picMkLst>
            <pc:docMk/>
            <pc:sldMk cId="3237477264" sldId="2146846392"/>
            <ac:picMk id="6" creationId="{B09638A6-6111-A6EC-914F-C98B17862DE6}"/>
          </ac:picMkLst>
        </pc:picChg>
      </pc:sldChg>
      <pc:sldChg chg="addSp delSp modSp add mod delAnim modAnim modNotesTx">
        <pc:chgData name="Md Fahim Hasan" userId="92968fce-d4dd-4b9e-8635-66a07c9f98a7" providerId="ADAL" clId="{3A6F4128-6482-4C75-8C7D-220A75826C22}" dt="2023-07-27T19:44:46.167" v="37591"/>
        <pc:sldMkLst>
          <pc:docMk/>
          <pc:sldMk cId="1203333433" sldId="2146846393"/>
        </pc:sldMkLst>
        <pc:spChg chg="mod">
          <ac:chgData name="Md Fahim Hasan" userId="92968fce-d4dd-4b9e-8635-66a07c9f98a7" providerId="ADAL" clId="{3A6F4128-6482-4C75-8C7D-220A75826C22}" dt="2023-07-27T15:51:58.279" v="35706"/>
          <ac:spMkLst>
            <pc:docMk/>
            <pc:sldMk cId="1203333433" sldId="2146846393"/>
            <ac:spMk id="2" creationId="{D6F33AD6-BCD0-7BD2-5890-1C682DC785B4}"/>
          </ac:spMkLst>
        </pc:spChg>
        <pc:spChg chg="add mod">
          <ac:chgData name="Md Fahim Hasan" userId="92968fce-d4dd-4b9e-8635-66a07c9f98a7" providerId="ADAL" clId="{3A6F4128-6482-4C75-8C7D-220A75826C22}" dt="2023-07-27T19:42:54.665" v="37562" actId="1035"/>
          <ac:spMkLst>
            <pc:docMk/>
            <pc:sldMk cId="1203333433" sldId="2146846393"/>
            <ac:spMk id="3" creationId="{51005D58-E908-FD88-9D81-C64DF2EA80B8}"/>
          </ac:spMkLst>
        </pc:spChg>
        <pc:spChg chg="add mod">
          <ac:chgData name="Md Fahim Hasan" userId="92968fce-d4dd-4b9e-8635-66a07c9f98a7" providerId="ADAL" clId="{3A6F4128-6482-4C75-8C7D-220A75826C22}" dt="2023-07-25T20:26:04.526" v="20498" actId="115"/>
          <ac:spMkLst>
            <pc:docMk/>
            <pc:sldMk cId="1203333433" sldId="2146846393"/>
            <ac:spMk id="5" creationId="{BC1754F1-682A-BE94-E0A0-10CA6FA4AE0D}"/>
          </ac:spMkLst>
        </pc:spChg>
        <pc:spChg chg="mod">
          <ac:chgData name="Md Fahim Hasan" userId="92968fce-d4dd-4b9e-8635-66a07c9f98a7" providerId="ADAL" clId="{3A6F4128-6482-4C75-8C7D-220A75826C22}" dt="2023-07-20T18:22:00.441" v="9416" actId="20577"/>
          <ac:spMkLst>
            <pc:docMk/>
            <pc:sldMk cId="1203333433" sldId="2146846393"/>
            <ac:spMk id="9" creationId="{DCE765C9-F866-A10C-05BC-B0F5CF7D4FA9}"/>
          </ac:spMkLst>
        </pc:spChg>
        <pc:spChg chg="add mod">
          <ac:chgData name="Md Fahim Hasan" userId="92968fce-d4dd-4b9e-8635-66a07c9f98a7" providerId="ADAL" clId="{3A6F4128-6482-4C75-8C7D-220A75826C22}" dt="2023-07-27T19:43:01.122" v="37565" actId="1036"/>
          <ac:spMkLst>
            <pc:docMk/>
            <pc:sldMk cId="1203333433" sldId="2146846393"/>
            <ac:spMk id="10" creationId="{9D932580-339A-37B0-F320-67B70D40500D}"/>
          </ac:spMkLst>
        </pc:spChg>
        <pc:spChg chg="mod">
          <ac:chgData name="Md Fahim Hasan" userId="92968fce-d4dd-4b9e-8635-66a07c9f98a7" providerId="ADAL" clId="{3A6F4128-6482-4C75-8C7D-220A75826C22}" dt="2023-07-26T20:24:37.177" v="28016" actId="207"/>
          <ac:spMkLst>
            <pc:docMk/>
            <pc:sldMk cId="1203333433" sldId="2146846393"/>
            <ac:spMk id="11" creationId="{34104EF3-AE2A-10CD-807A-5E8D98642890}"/>
          </ac:spMkLst>
        </pc:spChg>
        <pc:spChg chg="mod">
          <ac:chgData name="Md Fahim Hasan" userId="92968fce-d4dd-4b9e-8635-66a07c9f98a7" providerId="ADAL" clId="{3A6F4128-6482-4C75-8C7D-220A75826C22}" dt="2023-07-26T20:24:47.118" v="28017" actId="207"/>
          <ac:spMkLst>
            <pc:docMk/>
            <pc:sldMk cId="1203333433" sldId="2146846393"/>
            <ac:spMk id="12" creationId="{563AE502-BE2B-F7DC-8070-3C524C7FC52F}"/>
          </ac:spMkLst>
        </pc:spChg>
        <pc:spChg chg="add del mod">
          <ac:chgData name="Md Fahim Hasan" userId="92968fce-d4dd-4b9e-8635-66a07c9f98a7" providerId="ADAL" clId="{3A6F4128-6482-4C75-8C7D-220A75826C22}" dt="2023-07-27T19:43:10.080" v="37567"/>
          <ac:spMkLst>
            <pc:docMk/>
            <pc:sldMk cId="1203333433" sldId="2146846393"/>
            <ac:spMk id="13" creationId="{3C65C6E5-12E8-24F4-AC96-45FC3A7F3EF9}"/>
          </ac:spMkLst>
        </pc:spChg>
        <pc:spChg chg="add mod">
          <ac:chgData name="Md Fahim Hasan" userId="92968fce-d4dd-4b9e-8635-66a07c9f98a7" providerId="ADAL" clId="{3A6F4128-6482-4C75-8C7D-220A75826C22}" dt="2023-07-27T19:43:54.121" v="37584" actId="1035"/>
          <ac:spMkLst>
            <pc:docMk/>
            <pc:sldMk cId="1203333433" sldId="2146846393"/>
            <ac:spMk id="14" creationId="{2416DFFF-9DB2-6452-E337-2741E2EE5981}"/>
          </ac:spMkLst>
        </pc:spChg>
        <pc:spChg chg="mod">
          <ac:chgData name="Md Fahim Hasan" userId="92968fce-d4dd-4b9e-8635-66a07c9f98a7" providerId="ADAL" clId="{3A6F4128-6482-4C75-8C7D-220A75826C22}" dt="2023-07-26T20:24:56.310" v="28018" actId="207"/>
          <ac:spMkLst>
            <pc:docMk/>
            <pc:sldMk cId="1203333433" sldId="2146846393"/>
            <ac:spMk id="15" creationId="{A831B13C-8409-F4FA-2FD1-7B0D4DD54039}"/>
          </ac:spMkLst>
        </pc:spChg>
        <pc:spChg chg="mod">
          <ac:chgData name="Md Fahim Hasan" userId="92968fce-d4dd-4b9e-8635-66a07c9f98a7" providerId="ADAL" clId="{3A6F4128-6482-4C75-8C7D-220A75826C22}" dt="2023-07-26T20:25:00.213" v="28019" actId="207"/>
          <ac:spMkLst>
            <pc:docMk/>
            <pc:sldMk cId="1203333433" sldId="2146846393"/>
            <ac:spMk id="16" creationId="{74FA2828-4265-79AB-6956-60772E0CBF25}"/>
          </ac:spMkLst>
        </pc:spChg>
        <pc:spChg chg="add mod">
          <ac:chgData name="Md Fahim Hasan" userId="92968fce-d4dd-4b9e-8635-66a07c9f98a7" providerId="ADAL" clId="{3A6F4128-6482-4C75-8C7D-220A75826C22}" dt="2023-07-27T19:44:03.081" v="37587" actId="1038"/>
          <ac:spMkLst>
            <pc:docMk/>
            <pc:sldMk cId="1203333433" sldId="2146846393"/>
            <ac:spMk id="17" creationId="{4227057D-0654-D6FE-B8C4-8FCDAB06CA6C}"/>
          </ac:spMkLst>
        </pc:spChg>
        <pc:picChg chg="mod">
          <ac:chgData name="Md Fahim Hasan" userId="92968fce-d4dd-4b9e-8635-66a07c9f98a7" providerId="ADAL" clId="{3A6F4128-6482-4C75-8C7D-220A75826C22}" dt="2023-07-26T23:00:09.438" v="30917" actId="14826"/>
          <ac:picMkLst>
            <pc:docMk/>
            <pc:sldMk cId="1203333433" sldId="2146846393"/>
            <ac:picMk id="4" creationId="{1B7C3091-DEA4-66D1-884C-6CB2FD58DBE7}"/>
          </ac:picMkLst>
        </pc:picChg>
        <pc:picChg chg="add mod">
          <ac:chgData name="Md Fahim Hasan" userId="92968fce-d4dd-4b9e-8635-66a07c9f98a7" providerId="ADAL" clId="{3A6F4128-6482-4C75-8C7D-220A75826C22}" dt="2023-07-27T17:18:34.492" v="36812" actId="1076"/>
          <ac:picMkLst>
            <pc:docMk/>
            <pc:sldMk cId="1203333433" sldId="2146846393"/>
            <ac:picMk id="6" creationId="{5E2191B3-98E6-B694-F261-D599E1961C3A}"/>
          </ac:picMkLst>
        </pc:picChg>
        <pc:picChg chg="mod">
          <ac:chgData name="Md Fahim Hasan" userId="92968fce-d4dd-4b9e-8635-66a07c9f98a7" providerId="ADAL" clId="{3A6F4128-6482-4C75-8C7D-220A75826C22}" dt="2023-07-26T23:00:13.979" v="30918" actId="14826"/>
          <ac:picMkLst>
            <pc:docMk/>
            <pc:sldMk cId="1203333433" sldId="2146846393"/>
            <ac:picMk id="7" creationId="{B5713B37-2314-473A-D0AE-587C49D1AB77}"/>
          </ac:picMkLst>
        </pc:picChg>
        <pc:picChg chg="add mod">
          <ac:chgData name="Md Fahim Hasan" userId="92968fce-d4dd-4b9e-8635-66a07c9f98a7" providerId="ADAL" clId="{3A6F4128-6482-4C75-8C7D-220A75826C22}" dt="2023-07-26T23:26:03.462" v="30929" actId="1035"/>
          <ac:picMkLst>
            <pc:docMk/>
            <pc:sldMk cId="1203333433" sldId="2146846393"/>
            <ac:picMk id="8" creationId="{B9E0931F-AF13-AB52-802B-BAF25FB5B5C6}"/>
          </ac:picMkLst>
        </pc:picChg>
        <pc:picChg chg="del mod">
          <ac:chgData name="Md Fahim Hasan" userId="92968fce-d4dd-4b9e-8635-66a07c9f98a7" providerId="ADAL" clId="{3A6F4128-6482-4C75-8C7D-220A75826C22}" dt="2023-07-25T19:54:26.196" v="19751" actId="478"/>
          <ac:picMkLst>
            <pc:docMk/>
            <pc:sldMk cId="1203333433" sldId="2146846393"/>
            <ac:picMk id="13" creationId="{46FD433A-9C17-B9F2-33F5-318B3A425069}"/>
          </ac:picMkLst>
        </pc:picChg>
        <pc:picChg chg="del mod">
          <ac:chgData name="Md Fahim Hasan" userId="92968fce-d4dd-4b9e-8635-66a07c9f98a7" providerId="ADAL" clId="{3A6F4128-6482-4C75-8C7D-220A75826C22}" dt="2023-07-25T19:54:26.196" v="19751" actId="478"/>
          <ac:picMkLst>
            <pc:docMk/>
            <pc:sldMk cId="1203333433" sldId="2146846393"/>
            <ac:picMk id="14" creationId="{D31D8173-1F85-39E6-CA70-70E6E8DBB3C5}"/>
          </ac:picMkLst>
        </pc:picChg>
        <pc:cxnChg chg="mod">
          <ac:chgData name="Md Fahim Hasan" userId="92968fce-d4dd-4b9e-8635-66a07c9f98a7" providerId="ADAL" clId="{3A6F4128-6482-4C75-8C7D-220A75826C22}" dt="2023-07-25T19:53:44.813" v="19739" actId="14100"/>
          <ac:cxnSpMkLst>
            <pc:docMk/>
            <pc:sldMk cId="1203333433" sldId="2146846393"/>
            <ac:cxnSpMk id="24" creationId="{99D01E62-F77D-E62A-0C2D-824A66B5AD7B}"/>
          </ac:cxnSpMkLst>
        </pc:cxnChg>
      </pc:sldChg>
      <pc:sldChg chg="delSp modSp add mod delAnim">
        <pc:chgData name="Md Fahim Hasan" userId="92968fce-d4dd-4b9e-8635-66a07c9f98a7" providerId="ADAL" clId="{3A6F4128-6482-4C75-8C7D-220A75826C22}" dt="2023-07-27T15:51:58.279" v="35706"/>
        <pc:sldMkLst>
          <pc:docMk/>
          <pc:sldMk cId="1245895723" sldId="2146846394"/>
        </pc:sldMkLst>
        <pc:spChg chg="mod">
          <ac:chgData name="Md Fahim Hasan" userId="92968fce-d4dd-4b9e-8635-66a07c9f98a7" providerId="ADAL" clId="{3A6F4128-6482-4C75-8C7D-220A75826C22}" dt="2023-07-27T15:51:58.279" v="35706"/>
          <ac:spMkLst>
            <pc:docMk/>
            <pc:sldMk cId="1245895723" sldId="2146846394"/>
            <ac:spMk id="2" creationId="{6DC7D8B5-FDA8-2CF0-13A4-9B583F7BAACF}"/>
          </ac:spMkLst>
        </pc:spChg>
        <pc:spChg chg="mod">
          <ac:chgData name="Md Fahim Hasan" userId="92968fce-d4dd-4b9e-8635-66a07c9f98a7" providerId="ADAL" clId="{3A6F4128-6482-4C75-8C7D-220A75826C22}" dt="2023-07-18T18:07:43.689" v="4383" actId="113"/>
          <ac:spMkLst>
            <pc:docMk/>
            <pc:sldMk cId="1245895723" sldId="2146846394"/>
            <ac:spMk id="9" creationId="{DCE765C9-F866-A10C-05BC-B0F5CF7D4FA9}"/>
          </ac:spMkLst>
        </pc:spChg>
        <pc:spChg chg="del">
          <ac:chgData name="Md Fahim Hasan" userId="92968fce-d4dd-4b9e-8635-66a07c9f98a7" providerId="ADAL" clId="{3A6F4128-6482-4C75-8C7D-220A75826C22}" dt="2023-07-18T18:07:31.859" v="4378" actId="478"/>
          <ac:spMkLst>
            <pc:docMk/>
            <pc:sldMk cId="1245895723" sldId="2146846394"/>
            <ac:spMk id="11" creationId="{34104EF3-AE2A-10CD-807A-5E8D98642890}"/>
          </ac:spMkLst>
        </pc:spChg>
        <pc:spChg chg="del">
          <ac:chgData name="Md Fahim Hasan" userId="92968fce-d4dd-4b9e-8635-66a07c9f98a7" providerId="ADAL" clId="{3A6F4128-6482-4C75-8C7D-220A75826C22}" dt="2023-07-18T18:07:31.859" v="4378" actId="478"/>
          <ac:spMkLst>
            <pc:docMk/>
            <pc:sldMk cId="1245895723" sldId="2146846394"/>
            <ac:spMk id="12" creationId="{563AE502-BE2B-F7DC-8070-3C524C7FC52F}"/>
          </ac:spMkLst>
        </pc:spChg>
        <pc:spChg chg="del mod">
          <ac:chgData name="Md Fahim Hasan" userId="92968fce-d4dd-4b9e-8635-66a07c9f98a7" providerId="ADAL" clId="{3A6F4128-6482-4C75-8C7D-220A75826C22}" dt="2023-07-18T18:07:31.859" v="4378" actId="478"/>
          <ac:spMkLst>
            <pc:docMk/>
            <pc:sldMk cId="1245895723" sldId="2146846394"/>
            <ac:spMk id="15" creationId="{A831B13C-8409-F4FA-2FD1-7B0D4DD54039}"/>
          </ac:spMkLst>
        </pc:spChg>
        <pc:spChg chg="del">
          <ac:chgData name="Md Fahim Hasan" userId="92968fce-d4dd-4b9e-8635-66a07c9f98a7" providerId="ADAL" clId="{3A6F4128-6482-4C75-8C7D-220A75826C22}" dt="2023-07-18T18:07:31.859" v="4378" actId="478"/>
          <ac:spMkLst>
            <pc:docMk/>
            <pc:sldMk cId="1245895723" sldId="2146846394"/>
            <ac:spMk id="16" creationId="{74FA2828-4265-79AB-6956-60772E0CBF25}"/>
          </ac:spMkLst>
        </pc:spChg>
        <pc:picChg chg="del">
          <ac:chgData name="Md Fahim Hasan" userId="92968fce-d4dd-4b9e-8635-66a07c9f98a7" providerId="ADAL" clId="{3A6F4128-6482-4C75-8C7D-220A75826C22}" dt="2023-07-18T18:07:31.859" v="4378" actId="478"/>
          <ac:picMkLst>
            <pc:docMk/>
            <pc:sldMk cId="1245895723" sldId="2146846394"/>
            <ac:picMk id="4" creationId="{1B7C3091-DEA4-66D1-884C-6CB2FD58DBE7}"/>
          </ac:picMkLst>
        </pc:picChg>
        <pc:picChg chg="del">
          <ac:chgData name="Md Fahim Hasan" userId="92968fce-d4dd-4b9e-8635-66a07c9f98a7" providerId="ADAL" clId="{3A6F4128-6482-4C75-8C7D-220A75826C22}" dt="2023-07-18T18:07:31.859" v="4378" actId="478"/>
          <ac:picMkLst>
            <pc:docMk/>
            <pc:sldMk cId="1245895723" sldId="2146846394"/>
            <ac:picMk id="7" creationId="{B5713B37-2314-473A-D0AE-587C49D1AB77}"/>
          </ac:picMkLst>
        </pc:picChg>
        <pc:picChg chg="del">
          <ac:chgData name="Md Fahim Hasan" userId="92968fce-d4dd-4b9e-8635-66a07c9f98a7" providerId="ADAL" clId="{3A6F4128-6482-4C75-8C7D-220A75826C22}" dt="2023-07-18T18:07:23.722" v="4373" actId="478"/>
          <ac:picMkLst>
            <pc:docMk/>
            <pc:sldMk cId="1245895723" sldId="2146846394"/>
            <ac:picMk id="13" creationId="{46FD433A-9C17-B9F2-33F5-318B3A425069}"/>
          </ac:picMkLst>
        </pc:picChg>
        <pc:picChg chg="del">
          <ac:chgData name="Md Fahim Hasan" userId="92968fce-d4dd-4b9e-8635-66a07c9f98a7" providerId="ADAL" clId="{3A6F4128-6482-4C75-8C7D-220A75826C22}" dt="2023-07-18T18:07:24.373" v="4374" actId="478"/>
          <ac:picMkLst>
            <pc:docMk/>
            <pc:sldMk cId="1245895723" sldId="2146846394"/>
            <ac:picMk id="14" creationId="{D31D8173-1F85-39E6-CA70-70E6E8DBB3C5}"/>
          </ac:picMkLst>
        </pc:picChg>
        <pc:cxnChg chg="del">
          <ac:chgData name="Md Fahim Hasan" userId="92968fce-d4dd-4b9e-8635-66a07c9f98a7" providerId="ADAL" clId="{3A6F4128-6482-4C75-8C7D-220A75826C22}" dt="2023-07-18T18:07:27.250" v="4376" actId="478"/>
          <ac:cxnSpMkLst>
            <pc:docMk/>
            <pc:sldMk cId="1245895723" sldId="2146846394"/>
            <ac:cxnSpMk id="24" creationId="{99D01E62-F77D-E62A-0C2D-824A66B5AD7B}"/>
          </ac:cxnSpMkLst>
        </pc:cxnChg>
      </pc:sldChg>
      <pc:sldChg chg="addSp modSp add del mod modAnim">
        <pc:chgData name="Md Fahim Hasan" userId="92968fce-d4dd-4b9e-8635-66a07c9f98a7" providerId="ADAL" clId="{3A6F4128-6482-4C75-8C7D-220A75826C22}" dt="2023-07-25T20:24:34.529" v="20469" actId="47"/>
        <pc:sldMkLst>
          <pc:docMk/>
          <pc:sldMk cId="4203339022" sldId="2146846395"/>
        </pc:sldMkLst>
        <pc:spChg chg="add mod">
          <ac:chgData name="Md Fahim Hasan" userId="92968fce-d4dd-4b9e-8635-66a07c9f98a7" providerId="ADAL" clId="{3A6F4128-6482-4C75-8C7D-220A75826C22}" dt="2023-07-18T18:15:08.467" v="4581" actId="12"/>
          <ac:spMkLst>
            <pc:docMk/>
            <pc:sldMk cId="4203339022" sldId="2146846395"/>
            <ac:spMk id="2" creationId="{2D24C0E3-9AC6-9E0F-FEBB-E309F201ABEA}"/>
          </ac:spMkLst>
        </pc:spChg>
        <pc:spChg chg="mod">
          <ac:chgData name="Md Fahim Hasan" userId="92968fce-d4dd-4b9e-8635-66a07c9f98a7" providerId="ADAL" clId="{3A6F4128-6482-4C75-8C7D-220A75826C22}" dt="2023-07-20T18:09:46.552" v="9340" actId="20577"/>
          <ac:spMkLst>
            <pc:docMk/>
            <pc:sldMk cId="4203339022" sldId="2146846395"/>
            <ac:spMk id="9" creationId="{DCE765C9-F866-A10C-05BC-B0F5CF7D4FA9}"/>
          </ac:spMkLst>
        </pc:spChg>
        <pc:spChg chg="mod">
          <ac:chgData name="Md Fahim Hasan" userId="92968fce-d4dd-4b9e-8635-66a07c9f98a7" providerId="ADAL" clId="{3A6F4128-6482-4C75-8C7D-220A75826C22}" dt="2023-07-18T18:11:44.761" v="4414" actId="1076"/>
          <ac:spMkLst>
            <pc:docMk/>
            <pc:sldMk cId="4203339022" sldId="2146846395"/>
            <ac:spMk id="11" creationId="{34104EF3-AE2A-10CD-807A-5E8D98642890}"/>
          </ac:spMkLst>
        </pc:spChg>
        <pc:spChg chg="mod">
          <ac:chgData name="Md Fahim Hasan" userId="92968fce-d4dd-4b9e-8635-66a07c9f98a7" providerId="ADAL" clId="{3A6F4128-6482-4C75-8C7D-220A75826C22}" dt="2023-07-18T18:11:44.761" v="4414" actId="1076"/>
          <ac:spMkLst>
            <pc:docMk/>
            <pc:sldMk cId="4203339022" sldId="2146846395"/>
            <ac:spMk id="12" creationId="{563AE502-BE2B-F7DC-8070-3C524C7FC52F}"/>
          </ac:spMkLst>
        </pc:spChg>
        <pc:spChg chg="mod">
          <ac:chgData name="Md Fahim Hasan" userId="92968fce-d4dd-4b9e-8635-66a07c9f98a7" providerId="ADAL" clId="{3A6F4128-6482-4C75-8C7D-220A75826C22}" dt="2023-07-18T18:14:50.999" v="4578" actId="1037"/>
          <ac:spMkLst>
            <pc:docMk/>
            <pc:sldMk cId="4203339022" sldId="2146846395"/>
            <ac:spMk id="15" creationId="{A831B13C-8409-F4FA-2FD1-7B0D4DD54039}"/>
          </ac:spMkLst>
        </pc:spChg>
        <pc:spChg chg="mod">
          <ac:chgData name="Md Fahim Hasan" userId="92968fce-d4dd-4b9e-8635-66a07c9f98a7" providerId="ADAL" clId="{3A6F4128-6482-4C75-8C7D-220A75826C22}" dt="2023-07-18T18:14:50.999" v="4578" actId="1037"/>
          <ac:spMkLst>
            <pc:docMk/>
            <pc:sldMk cId="4203339022" sldId="2146846395"/>
            <ac:spMk id="16" creationId="{74FA2828-4265-79AB-6956-60772E0CBF25}"/>
          </ac:spMkLst>
        </pc:spChg>
        <pc:picChg chg="mod">
          <ac:chgData name="Md Fahim Hasan" userId="92968fce-d4dd-4b9e-8635-66a07c9f98a7" providerId="ADAL" clId="{3A6F4128-6482-4C75-8C7D-220A75826C22}" dt="2023-07-21T23:46:04.751" v="14165" actId="14826"/>
          <ac:picMkLst>
            <pc:docMk/>
            <pc:sldMk cId="4203339022" sldId="2146846395"/>
            <ac:picMk id="4" creationId="{1B7C3091-DEA4-66D1-884C-6CB2FD58DBE7}"/>
          </ac:picMkLst>
        </pc:picChg>
        <pc:picChg chg="mod">
          <ac:chgData name="Md Fahim Hasan" userId="92968fce-d4dd-4b9e-8635-66a07c9f98a7" providerId="ADAL" clId="{3A6F4128-6482-4C75-8C7D-220A75826C22}" dt="2023-07-21T23:45:57.331" v="14164" actId="14826"/>
          <ac:picMkLst>
            <pc:docMk/>
            <pc:sldMk cId="4203339022" sldId="2146846395"/>
            <ac:picMk id="7" creationId="{B5713B37-2314-473A-D0AE-587C49D1AB77}"/>
          </ac:picMkLst>
        </pc:picChg>
        <pc:picChg chg="mod">
          <ac:chgData name="Md Fahim Hasan" userId="92968fce-d4dd-4b9e-8635-66a07c9f98a7" providerId="ADAL" clId="{3A6F4128-6482-4C75-8C7D-220A75826C22}" dt="2023-07-21T23:47:26.221" v="14167" actId="14826"/>
          <ac:picMkLst>
            <pc:docMk/>
            <pc:sldMk cId="4203339022" sldId="2146846395"/>
            <ac:picMk id="13" creationId="{46FD433A-9C17-B9F2-33F5-318B3A425069}"/>
          </ac:picMkLst>
        </pc:picChg>
        <pc:picChg chg="mod">
          <ac:chgData name="Md Fahim Hasan" userId="92968fce-d4dd-4b9e-8635-66a07c9f98a7" providerId="ADAL" clId="{3A6F4128-6482-4C75-8C7D-220A75826C22}" dt="2023-07-21T23:47:21.071" v="14166" actId="14826"/>
          <ac:picMkLst>
            <pc:docMk/>
            <pc:sldMk cId="4203339022" sldId="2146846395"/>
            <ac:picMk id="14" creationId="{D31D8173-1F85-39E6-CA70-70E6E8DBB3C5}"/>
          </ac:picMkLst>
        </pc:picChg>
        <pc:cxnChg chg="mod">
          <ac:chgData name="Md Fahim Hasan" userId="92968fce-d4dd-4b9e-8635-66a07c9f98a7" providerId="ADAL" clId="{3A6F4128-6482-4C75-8C7D-220A75826C22}" dt="2023-07-18T18:14:45.255" v="4566" actId="1037"/>
          <ac:cxnSpMkLst>
            <pc:docMk/>
            <pc:sldMk cId="4203339022" sldId="2146846395"/>
            <ac:cxnSpMk id="24" creationId="{99D01E62-F77D-E62A-0C2D-824A66B5AD7B}"/>
          </ac:cxnSpMkLst>
        </pc:cxnChg>
      </pc:sldChg>
      <pc:sldChg chg="addSp delSp modSp add mod delAnim modAnim">
        <pc:chgData name="Md Fahim Hasan" userId="92968fce-d4dd-4b9e-8635-66a07c9f98a7" providerId="ADAL" clId="{3A6F4128-6482-4C75-8C7D-220A75826C22}" dt="2023-07-27T19:53:01.957" v="37650" actId="1036"/>
        <pc:sldMkLst>
          <pc:docMk/>
          <pc:sldMk cId="310068329" sldId="2146846396"/>
        </pc:sldMkLst>
        <pc:spChg chg="mod">
          <ac:chgData name="Md Fahim Hasan" userId="92968fce-d4dd-4b9e-8635-66a07c9f98a7" providerId="ADAL" clId="{3A6F4128-6482-4C75-8C7D-220A75826C22}" dt="2023-07-27T15:51:58.279" v="35706"/>
          <ac:spMkLst>
            <pc:docMk/>
            <pc:sldMk cId="310068329" sldId="2146846396"/>
            <ac:spMk id="2" creationId="{273AD75B-B440-73BF-172F-0AFD207882D0}"/>
          </ac:spMkLst>
        </pc:spChg>
        <pc:spChg chg="add del mod">
          <ac:chgData name="Md Fahim Hasan" userId="92968fce-d4dd-4b9e-8635-66a07c9f98a7" providerId="ADAL" clId="{3A6F4128-6482-4C75-8C7D-220A75826C22}" dt="2023-07-26T21:05:16.986" v="29398" actId="478"/>
          <ac:spMkLst>
            <pc:docMk/>
            <pc:sldMk cId="310068329" sldId="2146846396"/>
            <ac:spMk id="5" creationId="{734C5C0D-A824-1379-DCD2-DB0E9EE5F083}"/>
          </ac:spMkLst>
        </pc:spChg>
        <pc:spChg chg="add mod">
          <ac:chgData name="Md Fahim Hasan" userId="92968fce-d4dd-4b9e-8635-66a07c9f98a7" providerId="ADAL" clId="{3A6F4128-6482-4C75-8C7D-220A75826C22}" dt="2023-07-27T19:47:08.928" v="37619" actId="1036"/>
          <ac:spMkLst>
            <pc:docMk/>
            <pc:sldMk cId="310068329" sldId="2146846396"/>
            <ac:spMk id="5" creationId="{928ADAB0-2521-2F4C-A186-D157315588B6}"/>
          </ac:spMkLst>
        </pc:spChg>
        <pc:spChg chg="add mod">
          <ac:chgData name="Md Fahim Hasan" userId="92968fce-d4dd-4b9e-8635-66a07c9f98a7" providerId="ADAL" clId="{3A6F4128-6482-4C75-8C7D-220A75826C22}" dt="2023-07-27T15:15:30.465" v="35573" actId="20577"/>
          <ac:spMkLst>
            <pc:docMk/>
            <pc:sldMk cId="310068329" sldId="2146846396"/>
            <ac:spMk id="7" creationId="{4FD26440-7283-8187-931C-9A2076A55614}"/>
          </ac:spMkLst>
        </pc:spChg>
        <pc:spChg chg="add mod">
          <ac:chgData name="Md Fahim Hasan" userId="92968fce-d4dd-4b9e-8635-66a07c9f98a7" providerId="ADAL" clId="{3A6F4128-6482-4C75-8C7D-220A75826C22}" dt="2023-07-27T15:15:41.506" v="35577" actId="20577"/>
          <ac:spMkLst>
            <pc:docMk/>
            <pc:sldMk cId="310068329" sldId="2146846396"/>
            <ac:spMk id="8" creationId="{203D7B8F-E699-0F7B-F591-9A5FC71526DB}"/>
          </ac:spMkLst>
        </pc:spChg>
        <pc:spChg chg="mod">
          <ac:chgData name="Md Fahim Hasan" userId="92968fce-d4dd-4b9e-8635-66a07c9f98a7" providerId="ADAL" clId="{3A6F4128-6482-4C75-8C7D-220A75826C22}" dt="2023-07-20T18:21:49.625" v="9413" actId="20577"/>
          <ac:spMkLst>
            <pc:docMk/>
            <pc:sldMk cId="310068329" sldId="2146846396"/>
            <ac:spMk id="9" creationId="{DCE765C9-F866-A10C-05BC-B0F5CF7D4FA9}"/>
          </ac:spMkLst>
        </pc:spChg>
        <pc:spChg chg="mod">
          <ac:chgData name="Md Fahim Hasan" userId="92968fce-d4dd-4b9e-8635-66a07c9f98a7" providerId="ADAL" clId="{3A6F4128-6482-4C75-8C7D-220A75826C22}" dt="2023-07-27T15:14:37.554" v="35569" actId="20577"/>
          <ac:spMkLst>
            <pc:docMk/>
            <pc:sldMk cId="310068329" sldId="2146846396"/>
            <ac:spMk id="10" creationId="{DDD763E9-CE6D-7E6C-735D-E01DF9793F16}"/>
          </ac:spMkLst>
        </pc:spChg>
        <pc:spChg chg="add mod">
          <ac:chgData name="Md Fahim Hasan" userId="92968fce-d4dd-4b9e-8635-66a07c9f98a7" providerId="ADAL" clId="{3A6F4128-6482-4C75-8C7D-220A75826C22}" dt="2023-07-27T15:16:16.435" v="35583" actId="1076"/>
          <ac:spMkLst>
            <pc:docMk/>
            <pc:sldMk cId="310068329" sldId="2146846396"/>
            <ac:spMk id="11" creationId="{8F066125-9191-2409-EB91-B3F97BFD33F4}"/>
          </ac:spMkLst>
        </pc:spChg>
        <pc:spChg chg="add mod">
          <ac:chgData name="Md Fahim Hasan" userId="92968fce-d4dd-4b9e-8635-66a07c9f98a7" providerId="ADAL" clId="{3A6F4128-6482-4C75-8C7D-220A75826C22}" dt="2023-07-27T19:53:01.957" v="37650" actId="1036"/>
          <ac:spMkLst>
            <pc:docMk/>
            <pc:sldMk cId="310068329" sldId="2146846396"/>
            <ac:spMk id="12" creationId="{227954B6-5A60-968D-525D-058922609EBB}"/>
          </ac:spMkLst>
        </pc:spChg>
        <pc:spChg chg="add mod">
          <ac:chgData name="Md Fahim Hasan" userId="92968fce-d4dd-4b9e-8635-66a07c9f98a7" providerId="ADAL" clId="{3A6F4128-6482-4C75-8C7D-220A75826C22}" dt="2023-07-27T19:48:08.856" v="37634" actId="1076"/>
          <ac:spMkLst>
            <pc:docMk/>
            <pc:sldMk cId="310068329" sldId="2146846396"/>
            <ac:spMk id="13" creationId="{74C80300-FCA7-F168-3524-875E4815B852}"/>
          </ac:spMkLst>
        </pc:spChg>
        <pc:spChg chg="del">
          <ac:chgData name="Md Fahim Hasan" userId="92968fce-d4dd-4b9e-8635-66a07c9f98a7" providerId="ADAL" clId="{3A6F4128-6482-4C75-8C7D-220A75826C22}" dt="2023-07-18T18:47:37.462" v="4623" actId="478"/>
          <ac:spMkLst>
            <pc:docMk/>
            <pc:sldMk cId="310068329" sldId="2146846396"/>
            <ac:spMk id="19" creationId="{688695E6-03F4-CEE4-56E6-1BA85F5F2FA3}"/>
          </ac:spMkLst>
        </pc:spChg>
        <pc:spChg chg="del mod">
          <ac:chgData name="Md Fahim Hasan" userId="92968fce-d4dd-4b9e-8635-66a07c9f98a7" providerId="ADAL" clId="{3A6F4128-6482-4C75-8C7D-220A75826C22}" dt="2023-07-26T21:05:18.827" v="29399" actId="478"/>
          <ac:spMkLst>
            <pc:docMk/>
            <pc:sldMk cId="310068329" sldId="2146846396"/>
            <ac:spMk id="20" creationId="{040BCA99-2FFF-618A-ADD3-A00006589972}"/>
          </ac:spMkLst>
        </pc:spChg>
        <pc:spChg chg="del mod">
          <ac:chgData name="Md Fahim Hasan" userId="92968fce-d4dd-4b9e-8635-66a07c9f98a7" providerId="ADAL" clId="{3A6F4128-6482-4C75-8C7D-220A75826C22}" dt="2023-07-26T21:05:19.922" v="29400" actId="478"/>
          <ac:spMkLst>
            <pc:docMk/>
            <pc:sldMk cId="310068329" sldId="2146846396"/>
            <ac:spMk id="21" creationId="{98121FFD-BBA3-C6B1-9D6D-86E506BF8E8B}"/>
          </ac:spMkLst>
        </pc:spChg>
        <pc:picChg chg="mod">
          <ac:chgData name="Md Fahim Hasan" userId="92968fce-d4dd-4b9e-8635-66a07c9f98a7" providerId="ADAL" clId="{3A6F4128-6482-4C75-8C7D-220A75826C22}" dt="2023-07-27T00:08:53.328" v="31974" actId="1036"/>
          <ac:picMkLst>
            <pc:docMk/>
            <pc:sldMk cId="310068329" sldId="2146846396"/>
            <ac:picMk id="3" creationId="{72FDB37B-E1DB-C812-CAB0-7BE1829D147F}"/>
          </ac:picMkLst>
        </pc:picChg>
        <pc:picChg chg="add mod">
          <ac:chgData name="Md Fahim Hasan" userId="92968fce-d4dd-4b9e-8635-66a07c9f98a7" providerId="ADAL" clId="{3A6F4128-6482-4C75-8C7D-220A75826C22}" dt="2023-07-27T19:47:18.709" v="37622" actId="1076"/>
          <ac:picMkLst>
            <pc:docMk/>
            <pc:sldMk cId="310068329" sldId="2146846396"/>
            <ac:picMk id="4" creationId="{FD3D3A44-DBBD-C5CF-FBF1-D8AF7E66C4D4}"/>
          </ac:picMkLst>
        </pc:picChg>
        <pc:picChg chg="mod">
          <ac:chgData name="Md Fahim Hasan" userId="92968fce-d4dd-4b9e-8635-66a07c9f98a7" providerId="ADAL" clId="{3A6F4128-6482-4C75-8C7D-220A75826C22}" dt="2023-07-27T00:08:35.514" v="31970" actId="14826"/>
          <ac:picMkLst>
            <pc:docMk/>
            <pc:sldMk cId="310068329" sldId="2146846396"/>
            <ac:picMk id="6" creationId="{B09638A6-6111-A6EC-914F-C98B17862DE6}"/>
          </ac:picMkLst>
        </pc:picChg>
        <pc:picChg chg="del">
          <ac:chgData name="Md Fahim Hasan" userId="92968fce-d4dd-4b9e-8635-66a07c9f98a7" providerId="ADAL" clId="{3A6F4128-6482-4C75-8C7D-220A75826C22}" dt="2023-07-18T18:47:35.535" v="4622" actId="478"/>
          <ac:picMkLst>
            <pc:docMk/>
            <pc:sldMk cId="310068329" sldId="2146846396"/>
            <ac:picMk id="8" creationId="{1F7DC9F6-9984-9A8A-6C84-FC2CCC04B586}"/>
          </ac:picMkLst>
        </pc:picChg>
        <pc:cxnChg chg="del">
          <ac:chgData name="Md Fahim Hasan" userId="92968fce-d4dd-4b9e-8635-66a07c9f98a7" providerId="ADAL" clId="{3A6F4128-6482-4C75-8C7D-220A75826C22}" dt="2023-07-18T18:47:38.796" v="4624" actId="478"/>
          <ac:cxnSpMkLst>
            <pc:docMk/>
            <pc:sldMk cId="310068329" sldId="2146846396"/>
            <ac:cxnSpMk id="24" creationId="{99D01E62-F77D-E62A-0C2D-824A66B5AD7B}"/>
          </ac:cxnSpMkLst>
        </pc:cxnChg>
      </pc:sldChg>
      <pc:sldChg chg="addSp delSp modSp add mod addAnim delAnim modAnim modNotesTx">
        <pc:chgData name="Md Fahim Hasan" userId="92968fce-d4dd-4b9e-8635-66a07c9f98a7" providerId="ADAL" clId="{3A6F4128-6482-4C75-8C7D-220A75826C22}" dt="2023-07-27T19:53:54.542" v="37678" actId="1037"/>
        <pc:sldMkLst>
          <pc:docMk/>
          <pc:sldMk cId="4153267118" sldId="2146846397"/>
        </pc:sldMkLst>
        <pc:spChg chg="mod">
          <ac:chgData name="Md Fahim Hasan" userId="92968fce-d4dd-4b9e-8635-66a07c9f98a7" providerId="ADAL" clId="{3A6F4128-6482-4C75-8C7D-220A75826C22}" dt="2023-07-27T15:51:58.279" v="35706"/>
          <ac:spMkLst>
            <pc:docMk/>
            <pc:sldMk cId="4153267118" sldId="2146846397"/>
            <ac:spMk id="2" creationId="{1C82C6A7-0B60-5904-7191-52D87BAE4CAA}"/>
          </ac:spMkLst>
        </pc:spChg>
        <pc:spChg chg="add del mod">
          <ac:chgData name="Md Fahim Hasan" userId="92968fce-d4dd-4b9e-8635-66a07c9f98a7" providerId="ADAL" clId="{3A6F4128-6482-4C75-8C7D-220A75826C22}" dt="2023-07-18T20:00:51.703" v="5963" actId="478"/>
          <ac:spMkLst>
            <pc:docMk/>
            <pc:sldMk cId="4153267118" sldId="2146846397"/>
            <ac:spMk id="2" creationId="{B0865CE3-FB3D-D767-F7F8-E149E6F708BA}"/>
          </ac:spMkLst>
        </pc:spChg>
        <pc:spChg chg="add mod">
          <ac:chgData name="Md Fahim Hasan" userId="92968fce-d4dd-4b9e-8635-66a07c9f98a7" providerId="ADAL" clId="{3A6F4128-6482-4C75-8C7D-220A75826C22}" dt="2023-07-27T19:52:45.803" v="37648" actId="1038"/>
          <ac:spMkLst>
            <pc:docMk/>
            <pc:sldMk cId="4153267118" sldId="2146846397"/>
            <ac:spMk id="5" creationId="{3AC0F889-BED4-C74B-8469-EEF1A8DA53E0}"/>
          </ac:spMkLst>
        </pc:spChg>
        <pc:spChg chg="add del mod">
          <ac:chgData name="Md Fahim Hasan" userId="92968fce-d4dd-4b9e-8635-66a07c9f98a7" providerId="ADAL" clId="{3A6F4128-6482-4C75-8C7D-220A75826C22}" dt="2023-07-18T19:36:05.049" v="5428" actId="478"/>
          <ac:spMkLst>
            <pc:docMk/>
            <pc:sldMk cId="4153267118" sldId="2146846397"/>
            <ac:spMk id="5" creationId="{734C5C0D-A824-1379-DCD2-DB0E9EE5F083}"/>
          </ac:spMkLst>
        </pc:spChg>
        <pc:spChg chg="add mod">
          <ac:chgData name="Md Fahim Hasan" userId="92968fce-d4dd-4b9e-8635-66a07c9f98a7" providerId="ADAL" clId="{3A6F4128-6482-4C75-8C7D-220A75826C22}" dt="2023-07-27T19:53:25.749" v="37664" actId="1036"/>
          <ac:spMkLst>
            <pc:docMk/>
            <pc:sldMk cId="4153267118" sldId="2146846397"/>
            <ac:spMk id="7" creationId="{E7D98BCB-75F7-D5E6-DBFC-7E8617B6E4CF}"/>
          </ac:spMkLst>
        </pc:spChg>
        <pc:spChg chg="add del mod">
          <ac:chgData name="Md Fahim Hasan" userId="92968fce-d4dd-4b9e-8635-66a07c9f98a7" providerId="ADAL" clId="{3A6F4128-6482-4C75-8C7D-220A75826C22}" dt="2023-07-26T21:07:02.865" v="29414" actId="478"/>
          <ac:spMkLst>
            <pc:docMk/>
            <pc:sldMk cId="4153267118" sldId="2146846397"/>
            <ac:spMk id="8" creationId="{488564AF-ED48-95FA-4934-A009364B5CA8}"/>
          </ac:spMkLst>
        </pc:spChg>
        <pc:spChg chg="add mod">
          <ac:chgData name="Md Fahim Hasan" userId="92968fce-d4dd-4b9e-8635-66a07c9f98a7" providerId="ADAL" clId="{3A6F4128-6482-4C75-8C7D-220A75826C22}" dt="2023-07-27T19:53:54.542" v="37678" actId="1037"/>
          <ac:spMkLst>
            <pc:docMk/>
            <pc:sldMk cId="4153267118" sldId="2146846397"/>
            <ac:spMk id="8" creationId="{7DF1818C-1117-E333-723F-871FC2937F8E}"/>
          </ac:spMkLst>
        </pc:spChg>
        <pc:spChg chg="mod">
          <ac:chgData name="Md Fahim Hasan" userId="92968fce-d4dd-4b9e-8635-66a07c9f98a7" providerId="ADAL" clId="{3A6F4128-6482-4C75-8C7D-220A75826C22}" dt="2023-07-20T18:21:45.787" v="9411" actId="6549"/>
          <ac:spMkLst>
            <pc:docMk/>
            <pc:sldMk cId="4153267118" sldId="2146846397"/>
            <ac:spMk id="9" creationId="{DCE765C9-F866-A10C-05BC-B0F5CF7D4FA9}"/>
          </ac:spMkLst>
        </pc:spChg>
        <pc:spChg chg="mod">
          <ac:chgData name="Md Fahim Hasan" userId="92968fce-d4dd-4b9e-8635-66a07c9f98a7" providerId="ADAL" clId="{3A6F4128-6482-4C75-8C7D-220A75826C22}" dt="2023-07-21T17:37:23.551" v="11327" actId="403"/>
          <ac:spMkLst>
            <pc:docMk/>
            <pc:sldMk cId="4153267118" sldId="2146846397"/>
            <ac:spMk id="10" creationId="{DDD763E9-CE6D-7E6C-735D-E01DF9793F16}"/>
          </ac:spMkLst>
        </pc:spChg>
        <pc:spChg chg="add del mod">
          <ac:chgData name="Md Fahim Hasan" userId="92968fce-d4dd-4b9e-8635-66a07c9f98a7" providerId="ADAL" clId="{3A6F4128-6482-4C75-8C7D-220A75826C22}" dt="2023-07-26T21:07:05.392" v="29415" actId="478"/>
          <ac:spMkLst>
            <pc:docMk/>
            <pc:sldMk cId="4153267118" sldId="2146846397"/>
            <ac:spMk id="11" creationId="{0D7AF0F4-08C6-7F1D-3D1B-1C2C32B5CDE3}"/>
          </ac:spMkLst>
        </pc:spChg>
        <pc:spChg chg="add del mod">
          <ac:chgData name="Md Fahim Hasan" userId="92968fce-d4dd-4b9e-8635-66a07c9f98a7" providerId="ADAL" clId="{3A6F4128-6482-4C75-8C7D-220A75826C22}" dt="2023-07-26T21:07:02.865" v="29414" actId="478"/>
          <ac:spMkLst>
            <pc:docMk/>
            <pc:sldMk cId="4153267118" sldId="2146846397"/>
            <ac:spMk id="13" creationId="{9B9AD342-7B2D-913E-7482-A8B76E093DD8}"/>
          </ac:spMkLst>
        </pc:spChg>
        <pc:spChg chg="add del mod">
          <ac:chgData name="Md Fahim Hasan" userId="92968fce-d4dd-4b9e-8635-66a07c9f98a7" providerId="ADAL" clId="{3A6F4128-6482-4C75-8C7D-220A75826C22}" dt="2023-07-26T21:17:35.681" v="29418" actId="478"/>
          <ac:spMkLst>
            <pc:docMk/>
            <pc:sldMk cId="4153267118" sldId="2146846397"/>
            <ac:spMk id="14" creationId="{3EC5BBA1-1911-F053-1BE6-422FE9B54520}"/>
          </ac:spMkLst>
        </pc:spChg>
        <pc:spChg chg="add mod">
          <ac:chgData name="Md Fahim Hasan" userId="92968fce-d4dd-4b9e-8635-66a07c9f98a7" providerId="ADAL" clId="{3A6F4128-6482-4C75-8C7D-220A75826C22}" dt="2023-07-26T22:50:09.697" v="30907" actId="20577"/>
          <ac:spMkLst>
            <pc:docMk/>
            <pc:sldMk cId="4153267118" sldId="2146846397"/>
            <ac:spMk id="15" creationId="{284698FD-408B-BDA8-0B46-03D08E09360F}"/>
          </ac:spMkLst>
        </pc:spChg>
        <pc:spChg chg="add mod">
          <ac:chgData name="Md Fahim Hasan" userId="92968fce-d4dd-4b9e-8635-66a07c9f98a7" providerId="ADAL" clId="{3A6F4128-6482-4C75-8C7D-220A75826C22}" dt="2023-07-26T22:50:11.615" v="30908" actId="20577"/>
          <ac:spMkLst>
            <pc:docMk/>
            <pc:sldMk cId="4153267118" sldId="2146846397"/>
            <ac:spMk id="16" creationId="{8ECD6CE6-69D3-78B9-8E18-25AD59E4A71B}"/>
          </ac:spMkLst>
        </pc:spChg>
        <pc:spChg chg="add mod">
          <ac:chgData name="Md Fahim Hasan" userId="92968fce-d4dd-4b9e-8635-66a07c9f98a7" providerId="ADAL" clId="{3A6F4128-6482-4C75-8C7D-220A75826C22}" dt="2023-07-26T22:50:13.555" v="30909" actId="20577"/>
          <ac:spMkLst>
            <pc:docMk/>
            <pc:sldMk cId="4153267118" sldId="2146846397"/>
            <ac:spMk id="17" creationId="{4A85A3A9-4CA3-0AC7-5AC0-EFA7296F9A6B}"/>
          </ac:spMkLst>
        </pc:spChg>
        <pc:spChg chg="add del mod">
          <ac:chgData name="Md Fahim Hasan" userId="92968fce-d4dd-4b9e-8635-66a07c9f98a7" providerId="ADAL" clId="{3A6F4128-6482-4C75-8C7D-220A75826C22}" dt="2023-07-24T16:59:44.199" v="15317" actId="478"/>
          <ac:spMkLst>
            <pc:docMk/>
            <pc:sldMk cId="4153267118" sldId="2146846397"/>
            <ac:spMk id="20" creationId="{040BCA99-2FFF-618A-ADD3-A00006589972}"/>
          </ac:spMkLst>
        </pc:spChg>
        <pc:spChg chg="add del mod">
          <ac:chgData name="Md Fahim Hasan" userId="92968fce-d4dd-4b9e-8635-66a07c9f98a7" providerId="ADAL" clId="{3A6F4128-6482-4C75-8C7D-220A75826C22}" dt="2023-07-24T16:59:44.199" v="15317" actId="478"/>
          <ac:spMkLst>
            <pc:docMk/>
            <pc:sldMk cId="4153267118" sldId="2146846397"/>
            <ac:spMk id="21" creationId="{98121FFD-BBA3-C6B1-9D6D-86E506BF8E8B}"/>
          </ac:spMkLst>
        </pc:spChg>
        <pc:picChg chg="add mod">
          <ac:chgData name="Md Fahim Hasan" userId="92968fce-d4dd-4b9e-8635-66a07c9f98a7" providerId="ADAL" clId="{3A6F4128-6482-4C75-8C7D-220A75826C22}" dt="2023-07-27T19:53:46.844" v="37675" actId="1037"/>
          <ac:picMkLst>
            <pc:docMk/>
            <pc:sldMk cId="4153267118" sldId="2146846397"/>
            <ac:picMk id="3" creationId="{55F34D01-6534-BB1B-5C22-2FAC3A80633C}"/>
          </ac:picMkLst>
        </pc:picChg>
        <pc:picChg chg="add del mod modCrop">
          <ac:chgData name="Md Fahim Hasan" userId="92968fce-d4dd-4b9e-8635-66a07c9f98a7" providerId="ADAL" clId="{3A6F4128-6482-4C75-8C7D-220A75826C22}" dt="2023-07-24T16:59:44.199" v="15317" actId="478"/>
          <ac:picMkLst>
            <pc:docMk/>
            <pc:sldMk cId="4153267118" sldId="2146846397"/>
            <ac:picMk id="3" creationId="{72FDB37B-E1DB-C812-CAB0-7BE1829D147F}"/>
          </ac:picMkLst>
        </pc:picChg>
        <pc:picChg chg="add mod">
          <ac:chgData name="Md Fahim Hasan" userId="92968fce-d4dd-4b9e-8635-66a07c9f98a7" providerId="ADAL" clId="{3A6F4128-6482-4C75-8C7D-220A75826C22}" dt="2023-07-27T00:11:11.558" v="31975" actId="14826"/>
          <ac:picMkLst>
            <pc:docMk/>
            <pc:sldMk cId="4153267118" sldId="2146846397"/>
            <ac:picMk id="4" creationId="{3730187A-DDEF-53A2-3532-E1B080B668E4}"/>
          </ac:picMkLst>
        </pc:picChg>
        <pc:picChg chg="add del mod">
          <ac:chgData name="Md Fahim Hasan" userId="92968fce-d4dd-4b9e-8635-66a07c9f98a7" providerId="ADAL" clId="{3A6F4128-6482-4C75-8C7D-220A75826C22}" dt="2023-07-24T16:59:44.199" v="15317" actId="478"/>
          <ac:picMkLst>
            <pc:docMk/>
            <pc:sldMk cId="4153267118" sldId="2146846397"/>
            <ac:picMk id="4" creationId="{798A6474-FB78-0F6A-A3BB-03CF6190B4E0}"/>
          </ac:picMkLst>
        </pc:picChg>
        <pc:picChg chg="add del mod">
          <ac:chgData name="Md Fahim Hasan" userId="92968fce-d4dd-4b9e-8635-66a07c9f98a7" providerId="ADAL" clId="{3A6F4128-6482-4C75-8C7D-220A75826C22}" dt="2023-07-18T19:36:03.160" v="5427" actId="478"/>
          <ac:picMkLst>
            <pc:docMk/>
            <pc:sldMk cId="4153267118" sldId="2146846397"/>
            <ac:picMk id="4" creationId="{FD3D3A44-DBBD-C5CF-FBF1-D8AF7E66C4D4}"/>
          </ac:picMkLst>
        </pc:picChg>
        <pc:picChg chg="add del mod">
          <ac:chgData name="Md Fahim Hasan" userId="92968fce-d4dd-4b9e-8635-66a07c9f98a7" providerId="ADAL" clId="{3A6F4128-6482-4C75-8C7D-220A75826C22}" dt="2023-07-26T21:07:02.865" v="29414" actId="478"/>
          <ac:picMkLst>
            <pc:docMk/>
            <pc:sldMk cId="4153267118" sldId="2146846397"/>
            <ac:picMk id="5" creationId="{5EC03193-A670-0995-D09A-FAF5804070AD}"/>
          </ac:picMkLst>
        </pc:picChg>
        <pc:picChg chg="add mod">
          <ac:chgData name="Md Fahim Hasan" userId="92968fce-d4dd-4b9e-8635-66a07c9f98a7" providerId="ADAL" clId="{3A6F4128-6482-4C75-8C7D-220A75826C22}" dt="2023-07-27T19:51:27.309" v="37638" actId="1076"/>
          <ac:picMkLst>
            <pc:docMk/>
            <pc:sldMk cId="4153267118" sldId="2146846397"/>
            <ac:picMk id="6" creationId="{048B83B6-90B2-6A56-2877-709E60CB0BF8}"/>
          </ac:picMkLst>
        </pc:picChg>
        <pc:picChg chg="add del mod modCrop">
          <ac:chgData name="Md Fahim Hasan" userId="92968fce-d4dd-4b9e-8635-66a07c9f98a7" providerId="ADAL" clId="{3A6F4128-6482-4C75-8C7D-220A75826C22}" dt="2023-07-24T16:59:44.199" v="15317" actId="478"/>
          <ac:picMkLst>
            <pc:docMk/>
            <pc:sldMk cId="4153267118" sldId="2146846397"/>
            <ac:picMk id="6" creationId="{B09638A6-6111-A6EC-914F-C98B17862DE6}"/>
          </ac:picMkLst>
        </pc:picChg>
        <pc:picChg chg="add del mod">
          <ac:chgData name="Md Fahim Hasan" userId="92968fce-d4dd-4b9e-8635-66a07c9f98a7" providerId="ADAL" clId="{3A6F4128-6482-4C75-8C7D-220A75826C22}" dt="2023-07-26T21:07:02.865" v="29414" actId="478"/>
          <ac:picMkLst>
            <pc:docMk/>
            <pc:sldMk cId="4153267118" sldId="2146846397"/>
            <ac:picMk id="7" creationId="{DCE93C26-5D7B-F266-5F31-2ED225C9495C}"/>
          </ac:picMkLst>
        </pc:picChg>
        <pc:picChg chg="add del mod">
          <ac:chgData name="Md Fahim Hasan" userId="92968fce-d4dd-4b9e-8635-66a07c9f98a7" providerId="ADAL" clId="{3A6F4128-6482-4C75-8C7D-220A75826C22}" dt="2023-07-26T21:07:02.865" v="29414" actId="478"/>
          <ac:picMkLst>
            <pc:docMk/>
            <pc:sldMk cId="4153267118" sldId="2146846397"/>
            <ac:picMk id="12" creationId="{A572043A-A1C6-4604-5630-009BBE28CBBB}"/>
          </ac:picMkLst>
        </pc:picChg>
      </pc:sldChg>
      <pc:sldChg chg="addSp delSp modSp add mod ord delAnim modAnim modNotesTx">
        <pc:chgData name="Md Fahim Hasan" userId="92968fce-d4dd-4b9e-8635-66a07c9f98a7" providerId="ADAL" clId="{3A6F4128-6482-4C75-8C7D-220A75826C22}" dt="2023-07-27T18:11:00.609" v="37453" actId="20577"/>
        <pc:sldMkLst>
          <pc:docMk/>
          <pc:sldMk cId="371844730" sldId="2146846398"/>
        </pc:sldMkLst>
        <pc:spChg chg="mod">
          <ac:chgData name="Md Fahim Hasan" userId="92968fce-d4dd-4b9e-8635-66a07c9f98a7" providerId="ADAL" clId="{3A6F4128-6482-4C75-8C7D-220A75826C22}" dt="2023-07-21T17:38:31.660" v="11333" actId="14100"/>
          <ac:spMkLst>
            <pc:docMk/>
            <pc:sldMk cId="371844730" sldId="2146846398"/>
            <ac:spMk id="2" creationId="{B0865CE3-FB3D-D767-F7F8-E149E6F708BA}"/>
          </ac:spMkLst>
        </pc:spChg>
        <pc:spChg chg="mod">
          <ac:chgData name="Md Fahim Hasan" userId="92968fce-d4dd-4b9e-8635-66a07c9f98a7" providerId="ADAL" clId="{3A6F4128-6482-4C75-8C7D-220A75826C22}" dt="2023-07-27T15:51:58.279" v="35706"/>
          <ac:spMkLst>
            <pc:docMk/>
            <pc:sldMk cId="371844730" sldId="2146846398"/>
            <ac:spMk id="3" creationId="{8F971888-5CED-2514-FB79-CEC0AE9C973D}"/>
          </ac:spMkLst>
        </pc:spChg>
        <pc:spChg chg="add mod">
          <ac:chgData name="Md Fahim Hasan" userId="92968fce-d4dd-4b9e-8635-66a07c9f98a7" providerId="ADAL" clId="{3A6F4128-6482-4C75-8C7D-220A75826C22}" dt="2023-07-27T18:11:00.609" v="37453" actId="20577"/>
          <ac:spMkLst>
            <pc:docMk/>
            <pc:sldMk cId="371844730" sldId="2146846398"/>
            <ac:spMk id="4" creationId="{83BCD419-89C7-9F7E-2906-52E2ED81E12F}"/>
          </ac:spMkLst>
        </pc:spChg>
        <pc:spChg chg="add del mod">
          <ac:chgData name="Md Fahim Hasan" userId="92968fce-d4dd-4b9e-8635-66a07c9f98a7" providerId="ADAL" clId="{3A6F4128-6482-4C75-8C7D-220A75826C22}" dt="2023-07-20T14:32:30.526" v="7884" actId="21"/>
          <ac:spMkLst>
            <pc:docMk/>
            <pc:sldMk cId="371844730" sldId="2146846398"/>
            <ac:spMk id="7" creationId="{C1556E6B-31E4-A913-D61C-0DCB77CE068F}"/>
          </ac:spMkLst>
        </pc:spChg>
        <pc:spChg chg="mod">
          <ac:chgData name="Md Fahim Hasan" userId="92968fce-d4dd-4b9e-8635-66a07c9f98a7" providerId="ADAL" clId="{3A6F4128-6482-4C75-8C7D-220A75826C22}" dt="2023-07-20T18:21:42.211" v="9410" actId="6549"/>
          <ac:spMkLst>
            <pc:docMk/>
            <pc:sldMk cId="371844730" sldId="2146846398"/>
            <ac:spMk id="9" creationId="{DCE765C9-F866-A10C-05BC-B0F5CF7D4FA9}"/>
          </ac:spMkLst>
        </pc:spChg>
        <pc:spChg chg="del">
          <ac:chgData name="Md Fahim Hasan" userId="92968fce-d4dd-4b9e-8635-66a07c9f98a7" providerId="ADAL" clId="{3A6F4128-6482-4C75-8C7D-220A75826C22}" dt="2023-07-18T19:51:13.116" v="5658" actId="478"/>
          <ac:spMkLst>
            <pc:docMk/>
            <pc:sldMk cId="371844730" sldId="2146846398"/>
            <ac:spMk id="10" creationId="{DDD763E9-CE6D-7E6C-735D-E01DF9793F16}"/>
          </ac:spMkLst>
        </pc:spChg>
        <pc:spChg chg="del">
          <ac:chgData name="Md Fahim Hasan" userId="92968fce-d4dd-4b9e-8635-66a07c9f98a7" providerId="ADAL" clId="{3A6F4128-6482-4C75-8C7D-220A75826C22}" dt="2023-07-18T19:51:15.970" v="5661" actId="478"/>
          <ac:spMkLst>
            <pc:docMk/>
            <pc:sldMk cId="371844730" sldId="2146846398"/>
            <ac:spMk id="20" creationId="{040BCA99-2FFF-618A-ADD3-A00006589972}"/>
          </ac:spMkLst>
        </pc:spChg>
        <pc:spChg chg="del">
          <ac:chgData name="Md Fahim Hasan" userId="92968fce-d4dd-4b9e-8635-66a07c9f98a7" providerId="ADAL" clId="{3A6F4128-6482-4C75-8C7D-220A75826C22}" dt="2023-07-18T19:51:17.304" v="5662" actId="478"/>
          <ac:spMkLst>
            <pc:docMk/>
            <pc:sldMk cId="371844730" sldId="2146846398"/>
            <ac:spMk id="21" creationId="{98121FFD-BBA3-C6B1-9D6D-86E506BF8E8B}"/>
          </ac:spMkLst>
        </pc:spChg>
        <pc:picChg chg="del">
          <ac:chgData name="Md Fahim Hasan" userId="92968fce-d4dd-4b9e-8635-66a07c9f98a7" providerId="ADAL" clId="{3A6F4128-6482-4C75-8C7D-220A75826C22}" dt="2023-07-18T19:51:14.483" v="5660" actId="478"/>
          <ac:picMkLst>
            <pc:docMk/>
            <pc:sldMk cId="371844730" sldId="2146846398"/>
            <ac:picMk id="3" creationId="{72FDB37B-E1DB-C812-CAB0-7BE1829D147F}"/>
          </ac:picMkLst>
        </pc:picChg>
        <pc:picChg chg="add mod">
          <ac:chgData name="Md Fahim Hasan" userId="92968fce-d4dd-4b9e-8635-66a07c9f98a7" providerId="ADAL" clId="{3A6F4128-6482-4C75-8C7D-220A75826C22}" dt="2023-07-20T14:54:34.981" v="7938" actId="1076"/>
          <ac:picMkLst>
            <pc:docMk/>
            <pc:sldMk cId="371844730" sldId="2146846398"/>
            <ac:picMk id="5" creationId="{FDC010C9-2B4A-259D-24E8-5E49354DD997}"/>
          </ac:picMkLst>
        </pc:picChg>
        <pc:picChg chg="del">
          <ac:chgData name="Md Fahim Hasan" userId="92968fce-d4dd-4b9e-8635-66a07c9f98a7" providerId="ADAL" clId="{3A6F4128-6482-4C75-8C7D-220A75826C22}" dt="2023-07-18T19:51:13.950" v="5659" actId="478"/>
          <ac:picMkLst>
            <pc:docMk/>
            <pc:sldMk cId="371844730" sldId="2146846398"/>
            <ac:picMk id="6" creationId="{B09638A6-6111-A6EC-914F-C98B17862DE6}"/>
          </ac:picMkLst>
        </pc:picChg>
      </pc:sldChg>
      <pc:sldChg chg="addSp delSp modSp add mod ord delAnim modCm">
        <pc:chgData name="Md Fahim Hasan" userId="92968fce-d4dd-4b9e-8635-66a07c9f98a7" providerId="ADAL" clId="{3A6F4128-6482-4C75-8C7D-220A75826C22}" dt="2023-07-27T15:51:58.279" v="35706"/>
        <pc:sldMkLst>
          <pc:docMk/>
          <pc:sldMk cId="1519544032" sldId="2146846399"/>
        </pc:sldMkLst>
        <pc:spChg chg="mod">
          <ac:chgData name="Md Fahim Hasan" userId="92968fce-d4dd-4b9e-8635-66a07c9f98a7" providerId="ADAL" clId="{3A6F4128-6482-4C75-8C7D-220A75826C22}" dt="2023-07-27T15:51:58.279" v="35706"/>
          <ac:spMkLst>
            <pc:docMk/>
            <pc:sldMk cId="1519544032" sldId="2146846399"/>
            <ac:spMk id="2" creationId="{04FB52FD-279C-3A62-1E73-A9CC0CA096CD}"/>
          </ac:spMkLst>
        </pc:spChg>
        <pc:spChg chg="del">
          <ac:chgData name="Md Fahim Hasan" userId="92968fce-d4dd-4b9e-8635-66a07c9f98a7" providerId="ADAL" clId="{3A6F4128-6482-4C75-8C7D-220A75826C22}" dt="2023-07-18T20:08:09.198" v="6071" actId="478"/>
          <ac:spMkLst>
            <pc:docMk/>
            <pc:sldMk cId="1519544032" sldId="2146846399"/>
            <ac:spMk id="2" creationId="{B0865CE3-FB3D-D767-F7F8-E149E6F708BA}"/>
          </ac:spMkLst>
        </pc:spChg>
        <pc:spChg chg="add del mod">
          <ac:chgData name="Md Fahim Hasan" userId="92968fce-d4dd-4b9e-8635-66a07c9f98a7" providerId="ADAL" clId="{3A6F4128-6482-4C75-8C7D-220A75826C22}" dt="2023-07-20T19:14:36.231" v="9651" actId="478"/>
          <ac:spMkLst>
            <pc:docMk/>
            <pc:sldMk cId="1519544032" sldId="2146846399"/>
            <ac:spMk id="2" creationId="{B99F8DB8-D682-0A2F-3CF3-5675D3813CBB}"/>
          </ac:spMkLst>
        </pc:spChg>
        <pc:spChg chg="add mod">
          <ac:chgData name="Md Fahim Hasan" userId="92968fce-d4dd-4b9e-8635-66a07c9f98a7" providerId="ADAL" clId="{3A6F4128-6482-4C75-8C7D-220A75826C22}" dt="2023-07-20T19:56:28.462" v="9993" actId="20577"/>
          <ac:spMkLst>
            <pc:docMk/>
            <pc:sldMk cId="1519544032" sldId="2146846399"/>
            <ac:spMk id="4" creationId="{E2FFE966-41BB-FE13-4FE7-E23C85432A77}"/>
          </ac:spMkLst>
        </pc:spChg>
        <pc:spChg chg="del">
          <ac:chgData name="Md Fahim Hasan" userId="92968fce-d4dd-4b9e-8635-66a07c9f98a7" providerId="ADAL" clId="{3A6F4128-6482-4C75-8C7D-220A75826C22}" dt="2023-07-18T20:08:11.582" v="6073" actId="478"/>
          <ac:spMkLst>
            <pc:docMk/>
            <pc:sldMk cId="1519544032" sldId="2146846399"/>
            <ac:spMk id="7" creationId="{C1556E6B-31E4-A913-D61C-0DCB77CE068F}"/>
          </ac:spMkLst>
        </pc:spChg>
        <pc:spChg chg="mod">
          <ac:chgData name="Md Fahim Hasan" userId="92968fce-d4dd-4b9e-8635-66a07c9f98a7" providerId="ADAL" clId="{3A6F4128-6482-4C75-8C7D-220A75826C22}" dt="2023-07-21T17:45:46.966" v="11349" actId="20577"/>
          <ac:spMkLst>
            <pc:docMk/>
            <pc:sldMk cId="1519544032" sldId="2146846399"/>
            <ac:spMk id="9" creationId="{DCE765C9-F866-A10C-05BC-B0F5CF7D4FA9}"/>
          </ac:spMkLst>
        </pc:spChg>
        <pc:graphicFrameChg chg="add mod modGraphic">
          <ac:chgData name="Md Fahim Hasan" userId="92968fce-d4dd-4b9e-8635-66a07c9f98a7" providerId="ADAL" clId="{3A6F4128-6482-4C75-8C7D-220A75826C22}" dt="2023-07-24T16:19:04.599" v="15022" actId="20577"/>
          <ac:graphicFrameMkLst>
            <pc:docMk/>
            <pc:sldMk cId="1519544032" sldId="2146846399"/>
            <ac:graphicFrameMk id="3" creationId="{2F7E60F5-2651-E457-BA6A-2FB22CF29CDA}"/>
          </ac:graphicFrameMkLst>
        </pc:graphicFrameChg>
        <pc:picChg chg="del">
          <ac:chgData name="Md Fahim Hasan" userId="92968fce-d4dd-4b9e-8635-66a07c9f98a7" providerId="ADAL" clId="{3A6F4128-6482-4C75-8C7D-220A75826C22}" dt="2023-07-18T20:08:09.894" v="6072" actId="478"/>
          <ac:picMkLst>
            <pc:docMk/>
            <pc:sldMk cId="1519544032" sldId="2146846399"/>
            <ac:picMk id="5" creationId="{FDC010C9-2B4A-259D-24E8-5E49354DD997}"/>
          </ac:picMkLst>
        </pc:picChg>
      </pc:sldChg>
      <pc:sldChg chg="addSp delSp modSp add del mod delAnim modAnim">
        <pc:chgData name="Md Fahim Hasan" userId="92968fce-d4dd-4b9e-8635-66a07c9f98a7" providerId="ADAL" clId="{3A6F4128-6482-4C75-8C7D-220A75826C22}" dt="2023-07-21T23:20:55.941" v="14061" actId="2696"/>
        <pc:sldMkLst>
          <pc:docMk/>
          <pc:sldMk cId="271316830" sldId="2146846400"/>
        </pc:sldMkLst>
        <pc:spChg chg="del">
          <ac:chgData name="Md Fahim Hasan" userId="92968fce-d4dd-4b9e-8635-66a07c9f98a7" providerId="ADAL" clId="{3A6F4128-6482-4C75-8C7D-220A75826C22}" dt="2023-07-18T23:06:51.437" v="6891" actId="478"/>
          <ac:spMkLst>
            <pc:docMk/>
            <pc:sldMk cId="271316830" sldId="2146846400"/>
            <ac:spMk id="2" creationId="{B0865CE3-FB3D-D767-F7F8-E149E6F708BA}"/>
          </ac:spMkLst>
        </pc:spChg>
        <pc:spChg chg="add del mod">
          <ac:chgData name="Md Fahim Hasan" userId="92968fce-d4dd-4b9e-8635-66a07c9f98a7" providerId="ADAL" clId="{3A6F4128-6482-4C75-8C7D-220A75826C22}" dt="2023-07-20T14:27:07.077" v="7751" actId="478"/>
          <ac:spMkLst>
            <pc:docMk/>
            <pc:sldMk cId="271316830" sldId="2146846400"/>
            <ac:spMk id="5" creationId="{4F1C69C7-473D-57DA-412A-0612D6374240}"/>
          </ac:spMkLst>
        </pc:spChg>
        <pc:spChg chg="add del mod">
          <ac:chgData name="Md Fahim Hasan" userId="92968fce-d4dd-4b9e-8635-66a07c9f98a7" providerId="ADAL" clId="{3A6F4128-6482-4C75-8C7D-220A75826C22}" dt="2023-07-20T14:13:36.662" v="7453" actId="478"/>
          <ac:spMkLst>
            <pc:docMk/>
            <pc:sldMk cId="271316830" sldId="2146846400"/>
            <ac:spMk id="6" creationId="{54D1C705-D6B0-6FBC-FC56-28CB14C5E4D7}"/>
          </ac:spMkLst>
        </pc:spChg>
        <pc:spChg chg="del mod">
          <ac:chgData name="Md Fahim Hasan" userId="92968fce-d4dd-4b9e-8635-66a07c9f98a7" providerId="ADAL" clId="{3A6F4128-6482-4C75-8C7D-220A75826C22}" dt="2023-07-21T17:43:49.717" v="11336" actId="478"/>
          <ac:spMkLst>
            <pc:docMk/>
            <pc:sldMk cId="271316830" sldId="2146846400"/>
            <ac:spMk id="7" creationId="{C1556E6B-31E4-A913-D61C-0DCB77CE068F}"/>
          </ac:spMkLst>
        </pc:spChg>
        <pc:spChg chg="add del mod">
          <ac:chgData name="Md Fahim Hasan" userId="92968fce-d4dd-4b9e-8635-66a07c9f98a7" providerId="ADAL" clId="{3A6F4128-6482-4C75-8C7D-220A75826C22}" dt="2023-07-20T14:26:36.026" v="7744" actId="478"/>
          <ac:spMkLst>
            <pc:docMk/>
            <pc:sldMk cId="271316830" sldId="2146846400"/>
            <ac:spMk id="8" creationId="{5146555C-4CEE-7B93-198D-FECB1EA9BBA4}"/>
          </ac:spMkLst>
        </pc:spChg>
        <pc:spChg chg="mod">
          <ac:chgData name="Md Fahim Hasan" userId="92968fce-d4dd-4b9e-8635-66a07c9f98a7" providerId="ADAL" clId="{3A6F4128-6482-4C75-8C7D-220A75826C22}" dt="2023-07-20T18:21:25.040" v="9407" actId="20577"/>
          <ac:spMkLst>
            <pc:docMk/>
            <pc:sldMk cId="271316830" sldId="2146846400"/>
            <ac:spMk id="9" creationId="{DCE765C9-F866-A10C-05BC-B0F5CF7D4FA9}"/>
          </ac:spMkLst>
        </pc:spChg>
        <pc:spChg chg="add mod">
          <ac:chgData name="Md Fahim Hasan" userId="92968fce-d4dd-4b9e-8635-66a07c9f98a7" providerId="ADAL" clId="{3A6F4128-6482-4C75-8C7D-220A75826C22}" dt="2023-07-20T14:28:04.162" v="7764" actId="14100"/>
          <ac:spMkLst>
            <pc:docMk/>
            <pc:sldMk cId="271316830" sldId="2146846400"/>
            <ac:spMk id="10" creationId="{857B749E-6732-0406-D2BE-7CDBCA431B79}"/>
          </ac:spMkLst>
        </pc:spChg>
        <pc:spChg chg="add del mod">
          <ac:chgData name="Md Fahim Hasan" userId="92968fce-d4dd-4b9e-8635-66a07c9f98a7" providerId="ADAL" clId="{3A6F4128-6482-4C75-8C7D-220A75826C22}" dt="2023-07-20T14:24:23.763" v="7677" actId="478"/>
          <ac:spMkLst>
            <pc:docMk/>
            <pc:sldMk cId="271316830" sldId="2146846400"/>
            <ac:spMk id="11" creationId="{B9A26211-B731-3512-B554-08B30A48DA90}"/>
          </ac:spMkLst>
        </pc:spChg>
        <pc:spChg chg="add del mod">
          <ac:chgData name="Md Fahim Hasan" userId="92968fce-d4dd-4b9e-8635-66a07c9f98a7" providerId="ADAL" clId="{3A6F4128-6482-4C75-8C7D-220A75826C22}" dt="2023-07-20T14:24:24.679" v="7678" actId="478"/>
          <ac:spMkLst>
            <pc:docMk/>
            <pc:sldMk cId="271316830" sldId="2146846400"/>
            <ac:spMk id="12" creationId="{51A23460-F7D5-67DA-C877-747FFE09B421}"/>
          </ac:spMkLst>
        </pc:spChg>
        <pc:spChg chg="add mod">
          <ac:chgData name="Md Fahim Hasan" userId="92968fce-d4dd-4b9e-8635-66a07c9f98a7" providerId="ADAL" clId="{3A6F4128-6482-4C75-8C7D-220A75826C22}" dt="2023-07-20T14:29:26.347" v="7834" actId="207"/>
          <ac:spMkLst>
            <pc:docMk/>
            <pc:sldMk cId="271316830" sldId="2146846400"/>
            <ac:spMk id="13" creationId="{0DBAA058-1504-E777-7B09-F0DFF0A0CF99}"/>
          </ac:spMkLst>
        </pc:spChg>
        <pc:spChg chg="add del mod">
          <ac:chgData name="Md Fahim Hasan" userId="92968fce-d4dd-4b9e-8635-66a07c9f98a7" providerId="ADAL" clId="{3A6F4128-6482-4C75-8C7D-220A75826C22}" dt="2023-07-20T14:28:17.951" v="7768" actId="478"/>
          <ac:spMkLst>
            <pc:docMk/>
            <pc:sldMk cId="271316830" sldId="2146846400"/>
            <ac:spMk id="14" creationId="{93B6C613-425C-8479-420E-867126594115}"/>
          </ac:spMkLst>
        </pc:spChg>
        <pc:spChg chg="add del mod">
          <ac:chgData name="Md Fahim Hasan" userId="92968fce-d4dd-4b9e-8635-66a07c9f98a7" providerId="ADAL" clId="{3A6F4128-6482-4C75-8C7D-220A75826C22}" dt="2023-07-20T14:28:19.285" v="7769" actId="478"/>
          <ac:spMkLst>
            <pc:docMk/>
            <pc:sldMk cId="271316830" sldId="2146846400"/>
            <ac:spMk id="15" creationId="{ED41E28C-52D7-F3BC-C218-86DA284CE29A}"/>
          </ac:spMkLst>
        </pc:spChg>
        <pc:spChg chg="add del mod">
          <ac:chgData name="Md Fahim Hasan" userId="92968fce-d4dd-4b9e-8635-66a07c9f98a7" providerId="ADAL" clId="{3A6F4128-6482-4C75-8C7D-220A75826C22}" dt="2023-07-20T14:28:20.572" v="7770" actId="478"/>
          <ac:spMkLst>
            <pc:docMk/>
            <pc:sldMk cId="271316830" sldId="2146846400"/>
            <ac:spMk id="16" creationId="{B8F89D8D-DEAA-5D04-9F73-FE3223DB5427}"/>
          </ac:spMkLst>
        </pc:spChg>
        <pc:spChg chg="add del mod">
          <ac:chgData name="Md Fahim Hasan" userId="92968fce-d4dd-4b9e-8635-66a07c9f98a7" providerId="ADAL" clId="{3A6F4128-6482-4C75-8C7D-220A75826C22}" dt="2023-07-20T14:28:25.300" v="7771" actId="478"/>
          <ac:spMkLst>
            <pc:docMk/>
            <pc:sldMk cId="271316830" sldId="2146846400"/>
            <ac:spMk id="17" creationId="{6A7E37CE-6275-B8A8-B74B-66264BBD1352}"/>
          </ac:spMkLst>
        </pc:spChg>
        <pc:spChg chg="add mod">
          <ac:chgData name="Md Fahim Hasan" userId="92968fce-d4dd-4b9e-8635-66a07c9f98a7" providerId="ADAL" clId="{3A6F4128-6482-4C75-8C7D-220A75826C22}" dt="2023-07-20T14:30:44.899" v="7842" actId="208"/>
          <ac:spMkLst>
            <pc:docMk/>
            <pc:sldMk cId="271316830" sldId="2146846400"/>
            <ac:spMk id="18" creationId="{7C4723AC-A666-87C9-CF2E-8AEFBF9A9098}"/>
          </ac:spMkLst>
        </pc:spChg>
        <pc:spChg chg="add mod">
          <ac:chgData name="Md Fahim Hasan" userId="92968fce-d4dd-4b9e-8635-66a07c9f98a7" providerId="ADAL" clId="{3A6F4128-6482-4C75-8C7D-220A75826C22}" dt="2023-07-20T14:28:31.039" v="7773" actId="1076"/>
          <ac:spMkLst>
            <pc:docMk/>
            <pc:sldMk cId="271316830" sldId="2146846400"/>
            <ac:spMk id="19" creationId="{F5E98535-C369-7EFF-A731-20DBAFF5BD2C}"/>
          </ac:spMkLst>
        </pc:spChg>
        <pc:spChg chg="add mod">
          <ac:chgData name="Md Fahim Hasan" userId="92968fce-d4dd-4b9e-8635-66a07c9f98a7" providerId="ADAL" clId="{3A6F4128-6482-4C75-8C7D-220A75826C22}" dt="2023-07-20T14:28:42.509" v="7792" actId="20577"/>
          <ac:spMkLst>
            <pc:docMk/>
            <pc:sldMk cId="271316830" sldId="2146846400"/>
            <ac:spMk id="20" creationId="{1DE051DC-3F4E-DFDD-A032-C1B0BB72BF6D}"/>
          </ac:spMkLst>
        </pc:spChg>
        <pc:spChg chg="add mod">
          <ac:chgData name="Md Fahim Hasan" userId="92968fce-d4dd-4b9e-8635-66a07c9f98a7" providerId="ADAL" clId="{3A6F4128-6482-4C75-8C7D-220A75826C22}" dt="2023-07-20T14:28:48.562" v="7794" actId="1076"/>
          <ac:spMkLst>
            <pc:docMk/>
            <pc:sldMk cId="271316830" sldId="2146846400"/>
            <ac:spMk id="21" creationId="{50793ED0-B4CD-50DB-3B4A-57FCDEB52756}"/>
          </ac:spMkLst>
        </pc:spChg>
        <pc:spChg chg="add mod">
          <ac:chgData name="Md Fahim Hasan" userId="92968fce-d4dd-4b9e-8635-66a07c9f98a7" providerId="ADAL" clId="{3A6F4128-6482-4C75-8C7D-220A75826C22}" dt="2023-07-20T14:29:29.066" v="7835" actId="207"/>
          <ac:spMkLst>
            <pc:docMk/>
            <pc:sldMk cId="271316830" sldId="2146846400"/>
            <ac:spMk id="22" creationId="{EB753DD7-438C-13DC-C408-3AF0BD2E70E9}"/>
          </ac:spMkLst>
        </pc:spChg>
        <pc:picChg chg="add mod">
          <ac:chgData name="Md Fahim Hasan" userId="92968fce-d4dd-4b9e-8635-66a07c9f98a7" providerId="ADAL" clId="{3A6F4128-6482-4C75-8C7D-220A75826C22}" dt="2023-07-21T17:43:41.582" v="11335" actId="1076"/>
          <ac:picMkLst>
            <pc:docMk/>
            <pc:sldMk cId="271316830" sldId="2146846400"/>
            <ac:picMk id="3" creationId="{16BBEA49-B7C7-2619-44DA-70CDEE7990C0}"/>
          </ac:picMkLst>
        </pc:picChg>
        <pc:picChg chg="add del mod">
          <ac:chgData name="Md Fahim Hasan" userId="92968fce-d4dd-4b9e-8635-66a07c9f98a7" providerId="ADAL" clId="{3A6F4128-6482-4C75-8C7D-220A75826C22}" dt="2023-07-20T14:26:36.930" v="7745" actId="478"/>
          <ac:picMkLst>
            <pc:docMk/>
            <pc:sldMk cId="271316830" sldId="2146846400"/>
            <ac:picMk id="4" creationId="{D17D41B0-E2D2-4413-CA5F-A3540EAD289B}"/>
          </ac:picMkLst>
        </pc:picChg>
        <pc:picChg chg="del">
          <ac:chgData name="Md Fahim Hasan" userId="92968fce-d4dd-4b9e-8635-66a07c9f98a7" providerId="ADAL" clId="{3A6F4128-6482-4C75-8C7D-220A75826C22}" dt="2023-07-18T23:06:49.920" v="6890" actId="478"/>
          <ac:picMkLst>
            <pc:docMk/>
            <pc:sldMk cId="271316830" sldId="2146846400"/>
            <ac:picMk id="5" creationId="{FDC010C9-2B4A-259D-24E8-5E49354DD997}"/>
          </ac:picMkLst>
        </pc:picChg>
      </pc:sldChg>
      <pc:sldChg chg="addSp delSp modSp add mod delAnim modAnim modNotesTx">
        <pc:chgData name="Md Fahim Hasan" userId="92968fce-d4dd-4b9e-8635-66a07c9f98a7" providerId="ADAL" clId="{3A6F4128-6482-4C75-8C7D-220A75826C22}" dt="2023-07-27T15:51:58.279" v="35706"/>
        <pc:sldMkLst>
          <pc:docMk/>
          <pc:sldMk cId="3321549302" sldId="2146846400"/>
        </pc:sldMkLst>
        <pc:spChg chg="mod">
          <ac:chgData name="Md Fahim Hasan" userId="92968fce-d4dd-4b9e-8635-66a07c9f98a7" providerId="ADAL" clId="{3A6F4128-6482-4C75-8C7D-220A75826C22}" dt="2023-07-27T15:51:58.279" v="35706"/>
          <ac:spMkLst>
            <pc:docMk/>
            <pc:sldMk cId="3321549302" sldId="2146846400"/>
            <ac:spMk id="2" creationId="{99AE1A04-85B3-C2B8-36C1-23AD8083AA4B}"/>
          </ac:spMkLst>
        </pc:spChg>
        <pc:spChg chg="add mod">
          <ac:chgData name="Md Fahim Hasan" userId="92968fce-d4dd-4b9e-8635-66a07c9f98a7" providerId="ADAL" clId="{3A6F4128-6482-4C75-8C7D-220A75826C22}" dt="2023-07-25T20:16:53.125" v="20330" actId="113"/>
          <ac:spMkLst>
            <pc:docMk/>
            <pc:sldMk cId="3321549302" sldId="2146846400"/>
            <ac:spMk id="4" creationId="{17BD92E2-3887-479A-D757-38D7889A9875}"/>
          </ac:spMkLst>
        </pc:spChg>
        <pc:spChg chg="add mod">
          <ac:chgData name="Md Fahim Hasan" userId="92968fce-d4dd-4b9e-8635-66a07c9f98a7" providerId="ADAL" clId="{3A6F4128-6482-4C75-8C7D-220A75826C22}" dt="2023-07-25T20:30:27.273" v="20601" actId="1076"/>
          <ac:spMkLst>
            <pc:docMk/>
            <pc:sldMk cId="3321549302" sldId="2146846400"/>
            <ac:spMk id="5" creationId="{73EDB022-E7F0-BF1B-16F2-320F277AA1C1}"/>
          </ac:spMkLst>
        </pc:spChg>
        <pc:spChg chg="add mod">
          <ac:chgData name="Md Fahim Hasan" userId="92968fce-d4dd-4b9e-8635-66a07c9f98a7" providerId="ADAL" clId="{3A6F4128-6482-4C75-8C7D-220A75826C22}" dt="2023-07-25T20:30:41.696" v="20604" actId="1076"/>
          <ac:spMkLst>
            <pc:docMk/>
            <pc:sldMk cId="3321549302" sldId="2146846400"/>
            <ac:spMk id="6" creationId="{A46D0C84-66EB-F51F-FE84-7D1A99507361}"/>
          </ac:spMkLst>
        </pc:spChg>
        <pc:spChg chg="add del mod">
          <ac:chgData name="Md Fahim Hasan" userId="92968fce-d4dd-4b9e-8635-66a07c9f98a7" providerId="ADAL" clId="{3A6F4128-6482-4C75-8C7D-220A75826C22}" dt="2023-07-25T20:29:31.054" v="20570" actId="478"/>
          <ac:spMkLst>
            <pc:docMk/>
            <pc:sldMk cId="3321549302" sldId="2146846400"/>
            <ac:spMk id="7" creationId="{12D5A89A-F556-C0F1-D104-9C0D4B9F636A}"/>
          </ac:spMkLst>
        </pc:spChg>
        <pc:spChg chg="add del mod">
          <ac:chgData name="Md Fahim Hasan" userId="92968fce-d4dd-4b9e-8635-66a07c9f98a7" providerId="ADAL" clId="{3A6F4128-6482-4C75-8C7D-220A75826C22}" dt="2023-07-25T20:29:31.054" v="20570" actId="478"/>
          <ac:spMkLst>
            <pc:docMk/>
            <pc:sldMk cId="3321549302" sldId="2146846400"/>
            <ac:spMk id="8" creationId="{F6090B6F-34F6-95C3-6AA9-148B0A820F36}"/>
          </ac:spMkLst>
        </pc:spChg>
        <pc:spChg chg="mod">
          <ac:chgData name="Md Fahim Hasan" userId="92968fce-d4dd-4b9e-8635-66a07c9f98a7" providerId="ADAL" clId="{3A6F4128-6482-4C75-8C7D-220A75826C22}" dt="2023-07-25T20:27:06.577" v="20517" actId="1076"/>
          <ac:spMkLst>
            <pc:docMk/>
            <pc:sldMk cId="3321549302" sldId="2146846400"/>
            <ac:spMk id="9" creationId="{DCE765C9-F866-A10C-05BC-B0F5CF7D4FA9}"/>
          </ac:spMkLst>
        </pc:spChg>
        <pc:spChg chg="add del mod">
          <ac:chgData name="Md Fahim Hasan" userId="92968fce-d4dd-4b9e-8635-66a07c9f98a7" providerId="ADAL" clId="{3A6F4128-6482-4C75-8C7D-220A75826C22}" dt="2023-07-25T20:29:56.285" v="20591" actId="478"/>
          <ac:spMkLst>
            <pc:docMk/>
            <pc:sldMk cId="3321549302" sldId="2146846400"/>
            <ac:spMk id="10" creationId="{6884CC07-8D2B-B1B2-A7F4-40EE2FEF70E2}"/>
          </ac:spMkLst>
        </pc:spChg>
        <pc:spChg chg="del">
          <ac:chgData name="Md Fahim Hasan" userId="92968fce-d4dd-4b9e-8635-66a07c9f98a7" providerId="ADAL" clId="{3A6F4128-6482-4C75-8C7D-220A75826C22}" dt="2023-07-21T23:22:27.417" v="14131" actId="478"/>
          <ac:spMkLst>
            <pc:docMk/>
            <pc:sldMk cId="3321549302" sldId="2146846400"/>
            <ac:spMk id="10" creationId="{857B749E-6732-0406-D2BE-7CDBCA431B79}"/>
          </ac:spMkLst>
        </pc:spChg>
        <pc:spChg chg="add mod">
          <ac:chgData name="Md Fahim Hasan" userId="92968fce-d4dd-4b9e-8635-66a07c9f98a7" providerId="ADAL" clId="{3A6F4128-6482-4C75-8C7D-220A75826C22}" dt="2023-07-25T20:30:32.063" v="20602" actId="1076"/>
          <ac:spMkLst>
            <pc:docMk/>
            <pc:sldMk cId="3321549302" sldId="2146846400"/>
            <ac:spMk id="11" creationId="{36E05499-4C8A-15E8-0646-ADD534019E9F}"/>
          </ac:spMkLst>
        </pc:spChg>
        <pc:spChg chg="add mod">
          <ac:chgData name="Md Fahim Hasan" userId="92968fce-d4dd-4b9e-8635-66a07c9f98a7" providerId="ADAL" clId="{3A6F4128-6482-4C75-8C7D-220A75826C22}" dt="2023-07-25T20:30:27.273" v="20601" actId="1076"/>
          <ac:spMkLst>
            <pc:docMk/>
            <pc:sldMk cId="3321549302" sldId="2146846400"/>
            <ac:spMk id="12" creationId="{1C873AA9-C6B7-789B-ADC9-4470D44A69F7}"/>
          </ac:spMkLst>
        </pc:spChg>
        <pc:spChg chg="del">
          <ac:chgData name="Md Fahim Hasan" userId="92968fce-d4dd-4b9e-8635-66a07c9f98a7" providerId="ADAL" clId="{3A6F4128-6482-4C75-8C7D-220A75826C22}" dt="2023-07-21T23:22:27.417" v="14131" actId="478"/>
          <ac:spMkLst>
            <pc:docMk/>
            <pc:sldMk cId="3321549302" sldId="2146846400"/>
            <ac:spMk id="13" creationId="{0DBAA058-1504-E777-7B09-F0DFF0A0CF99}"/>
          </ac:spMkLst>
        </pc:spChg>
        <pc:spChg chg="add mod">
          <ac:chgData name="Md Fahim Hasan" userId="92968fce-d4dd-4b9e-8635-66a07c9f98a7" providerId="ADAL" clId="{3A6F4128-6482-4C75-8C7D-220A75826C22}" dt="2023-07-26T22:49:50.516" v="30903" actId="20577"/>
          <ac:spMkLst>
            <pc:docMk/>
            <pc:sldMk cId="3321549302" sldId="2146846400"/>
            <ac:spMk id="13" creationId="{509B8E1A-BC5A-E524-8FE0-8FF1D3788A20}"/>
          </ac:spMkLst>
        </pc:spChg>
        <pc:spChg chg="add mod">
          <ac:chgData name="Md Fahim Hasan" userId="92968fce-d4dd-4b9e-8635-66a07c9f98a7" providerId="ADAL" clId="{3A6F4128-6482-4C75-8C7D-220A75826C22}" dt="2023-07-25T20:30:27.273" v="20601" actId="1076"/>
          <ac:spMkLst>
            <pc:docMk/>
            <pc:sldMk cId="3321549302" sldId="2146846400"/>
            <ac:spMk id="14" creationId="{04F280DF-BB48-313E-469D-0D1472F053FB}"/>
          </ac:spMkLst>
        </pc:spChg>
        <pc:spChg chg="del">
          <ac:chgData name="Md Fahim Hasan" userId="92968fce-d4dd-4b9e-8635-66a07c9f98a7" providerId="ADAL" clId="{3A6F4128-6482-4C75-8C7D-220A75826C22}" dt="2023-07-21T23:21:17.513" v="14063" actId="478"/>
          <ac:spMkLst>
            <pc:docMk/>
            <pc:sldMk cId="3321549302" sldId="2146846400"/>
            <ac:spMk id="18" creationId="{7C4723AC-A666-87C9-CF2E-8AEFBF9A9098}"/>
          </ac:spMkLst>
        </pc:spChg>
        <pc:spChg chg="del">
          <ac:chgData name="Md Fahim Hasan" userId="92968fce-d4dd-4b9e-8635-66a07c9f98a7" providerId="ADAL" clId="{3A6F4128-6482-4C75-8C7D-220A75826C22}" dt="2023-07-21T23:22:27.417" v="14131" actId="478"/>
          <ac:spMkLst>
            <pc:docMk/>
            <pc:sldMk cId="3321549302" sldId="2146846400"/>
            <ac:spMk id="19" creationId="{F5E98535-C369-7EFF-A731-20DBAFF5BD2C}"/>
          </ac:spMkLst>
        </pc:spChg>
        <pc:spChg chg="del">
          <ac:chgData name="Md Fahim Hasan" userId="92968fce-d4dd-4b9e-8635-66a07c9f98a7" providerId="ADAL" clId="{3A6F4128-6482-4C75-8C7D-220A75826C22}" dt="2023-07-21T23:22:27.417" v="14131" actId="478"/>
          <ac:spMkLst>
            <pc:docMk/>
            <pc:sldMk cId="3321549302" sldId="2146846400"/>
            <ac:spMk id="20" creationId="{1DE051DC-3F4E-DFDD-A032-C1B0BB72BF6D}"/>
          </ac:spMkLst>
        </pc:spChg>
        <pc:spChg chg="del">
          <ac:chgData name="Md Fahim Hasan" userId="92968fce-d4dd-4b9e-8635-66a07c9f98a7" providerId="ADAL" clId="{3A6F4128-6482-4C75-8C7D-220A75826C22}" dt="2023-07-21T23:22:27.417" v="14131" actId="478"/>
          <ac:spMkLst>
            <pc:docMk/>
            <pc:sldMk cId="3321549302" sldId="2146846400"/>
            <ac:spMk id="21" creationId="{50793ED0-B4CD-50DB-3B4A-57FCDEB52756}"/>
          </ac:spMkLst>
        </pc:spChg>
        <pc:spChg chg="del">
          <ac:chgData name="Md Fahim Hasan" userId="92968fce-d4dd-4b9e-8635-66a07c9f98a7" providerId="ADAL" clId="{3A6F4128-6482-4C75-8C7D-220A75826C22}" dt="2023-07-21T23:22:27.417" v="14131" actId="478"/>
          <ac:spMkLst>
            <pc:docMk/>
            <pc:sldMk cId="3321549302" sldId="2146846400"/>
            <ac:spMk id="22" creationId="{EB753DD7-438C-13DC-C408-3AF0BD2E70E9}"/>
          </ac:spMkLst>
        </pc:spChg>
        <pc:picChg chg="mod">
          <ac:chgData name="Md Fahim Hasan" userId="92968fce-d4dd-4b9e-8635-66a07c9f98a7" providerId="ADAL" clId="{3A6F4128-6482-4C75-8C7D-220A75826C22}" dt="2023-07-25T20:12:36.902" v="20188" actId="1076"/>
          <ac:picMkLst>
            <pc:docMk/>
            <pc:sldMk cId="3321549302" sldId="2146846400"/>
            <ac:picMk id="3" creationId="{16BBEA49-B7C7-2619-44DA-70CDEE7990C0}"/>
          </ac:picMkLst>
        </pc:picChg>
      </pc:sldChg>
      <pc:sldChg chg="addSp delSp modSp add mod delAnim modAnim modNotesTx">
        <pc:chgData name="Md Fahim Hasan" userId="92968fce-d4dd-4b9e-8635-66a07c9f98a7" providerId="ADAL" clId="{3A6F4128-6482-4C75-8C7D-220A75826C22}" dt="2023-07-27T19:42:01.734" v="37537" actId="1035"/>
        <pc:sldMkLst>
          <pc:docMk/>
          <pc:sldMk cId="3126584536" sldId="2146846401"/>
        </pc:sldMkLst>
        <pc:spChg chg="add mod">
          <ac:chgData name="Md Fahim Hasan" userId="92968fce-d4dd-4b9e-8635-66a07c9f98a7" providerId="ADAL" clId="{3A6F4128-6482-4C75-8C7D-220A75826C22}" dt="2023-07-25T19:52:30.151" v="19696" actId="115"/>
          <ac:spMkLst>
            <pc:docMk/>
            <pc:sldMk cId="3126584536" sldId="2146846401"/>
            <ac:spMk id="2" creationId="{7954C781-6118-2324-A69A-96D5BF3A525F}"/>
          </ac:spMkLst>
        </pc:spChg>
        <pc:spChg chg="mod">
          <ac:chgData name="Md Fahim Hasan" userId="92968fce-d4dd-4b9e-8635-66a07c9f98a7" providerId="ADAL" clId="{3A6F4128-6482-4C75-8C7D-220A75826C22}" dt="2023-07-27T15:51:58.279" v="35706"/>
          <ac:spMkLst>
            <pc:docMk/>
            <pc:sldMk cId="3126584536" sldId="2146846401"/>
            <ac:spMk id="3" creationId="{B32175AB-1DB3-5446-7E5C-A305118EF0B3}"/>
          </ac:spMkLst>
        </pc:spChg>
        <pc:spChg chg="add del mod">
          <ac:chgData name="Md Fahim Hasan" userId="92968fce-d4dd-4b9e-8635-66a07c9f98a7" providerId="ADAL" clId="{3A6F4128-6482-4C75-8C7D-220A75826C22}" dt="2023-07-19T21:38:07.759" v="7180" actId="478"/>
          <ac:spMkLst>
            <pc:docMk/>
            <pc:sldMk cId="3126584536" sldId="2146846401"/>
            <ac:spMk id="4" creationId="{DF588D1A-A961-959A-62C4-7167D22EFC7C}"/>
          </ac:spMkLst>
        </pc:spChg>
        <pc:spChg chg="add del mod">
          <ac:chgData name="Md Fahim Hasan" userId="92968fce-d4dd-4b9e-8635-66a07c9f98a7" providerId="ADAL" clId="{3A6F4128-6482-4C75-8C7D-220A75826C22}" dt="2023-07-26T15:59:23.427" v="21793" actId="478"/>
          <ac:spMkLst>
            <pc:docMk/>
            <pc:sldMk cId="3126584536" sldId="2146846401"/>
            <ac:spMk id="7" creationId="{50A387BB-ED9C-C806-2CC9-DBADF17B42A3}"/>
          </ac:spMkLst>
        </pc:spChg>
        <pc:spChg chg="add del mod">
          <ac:chgData name="Md Fahim Hasan" userId="92968fce-d4dd-4b9e-8635-66a07c9f98a7" providerId="ADAL" clId="{3A6F4128-6482-4C75-8C7D-220A75826C22}" dt="2023-07-21T23:05:58.861" v="14014" actId="478"/>
          <ac:spMkLst>
            <pc:docMk/>
            <pc:sldMk cId="3126584536" sldId="2146846401"/>
            <ac:spMk id="7" creationId="{B641E756-718B-0BB8-7309-6CDF315EBB46}"/>
          </ac:spMkLst>
        </pc:spChg>
        <pc:spChg chg="add mod">
          <ac:chgData name="Md Fahim Hasan" userId="92968fce-d4dd-4b9e-8635-66a07c9f98a7" providerId="ADAL" clId="{3A6F4128-6482-4C75-8C7D-220A75826C22}" dt="2023-07-27T19:42:01.734" v="37537" actId="1035"/>
          <ac:spMkLst>
            <pc:docMk/>
            <pc:sldMk cId="3126584536" sldId="2146846401"/>
            <ac:spMk id="7" creationId="{CD1C828C-05FF-C666-6546-DDD712665BB8}"/>
          </ac:spMkLst>
        </pc:spChg>
        <pc:spChg chg="add mod">
          <ac:chgData name="Md Fahim Hasan" userId="92968fce-d4dd-4b9e-8635-66a07c9f98a7" providerId="ADAL" clId="{3A6F4128-6482-4C75-8C7D-220A75826C22}" dt="2023-07-27T19:41:27.406" v="37529" actId="1035"/>
          <ac:spMkLst>
            <pc:docMk/>
            <pc:sldMk cId="3126584536" sldId="2146846401"/>
            <ac:spMk id="8" creationId="{BA7018AD-2932-AEE6-95A5-3ED2089ADA2B}"/>
          </ac:spMkLst>
        </pc:spChg>
        <pc:spChg chg="add del mod">
          <ac:chgData name="Md Fahim Hasan" userId="92968fce-d4dd-4b9e-8635-66a07c9f98a7" providerId="ADAL" clId="{3A6F4128-6482-4C75-8C7D-220A75826C22}" dt="2023-07-26T20:45:52.079" v="28800" actId="478"/>
          <ac:spMkLst>
            <pc:docMk/>
            <pc:sldMk cId="3126584536" sldId="2146846401"/>
            <ac:spMk id="8" creationId="{BCAD7BA6-0450-15B9-61C7-5E90DF990355}"/>
          </ac:spMkLst>
        </pc:spChg>
        <pc:spChg chg="mod">
          <ac:chgData name="Md Fahim Hasan" userId="92968fce-d4dd-4b9e-8635-66a07c9f98a7" providerId="ADAL" clId="{3A6F4128-6482-4C75-8C7D-220A75826C22}" dt="2023-07-21T23:05:51.282" v="14010" actId="20577"/>
          <ac:spMkLst>
            <pc:docMk/>
            <pc:sldMk cId="3126584536" sldId="2146846401"/>
            <ac:spMk id="9" creationId="{DCE765C9-F866-A10C-05BC-B0F5CF7D4FA9}"/>
          </ac:spMkLst>
        </pc:spChg>
        <pc:spChg chg="add del">
          <ac:chgData name="Md Fahim Hasan" userId="92968fce-d4dd-4b9e-8635-66a07c9f98a7" providerId="ADAL" clId="{3A6F4128-6482-4C75-8C7D-220A75826C22}" dt="2023-07-25T20:13:28.128" v="20190" actId="22"/>
          <ac:spMkLst>
            <pc:docMk/>
            <pc:sldMk cId="3126584536" sldId="2146846401"/>
            <ac:spMk id="10" creationId="{61F02AD0-CC62-0F74-19D4-E3BA3C17503F}"/>
          </ac:spMkLst>
        </pc:spChg>
        <pc:spChg chg="add mod">
          <ac:chgData name="Md Fahim Hasan" userId="92968fce-d4dd-4b9e-8635-66a07c9f98a7" providerId="ADAL" clId="{3A6F4128-6482-4C75-8C7D-220A75826C22}" dt="2023-07-26T22:49:22.494" v="30882" actId="20577"/>
          <ac:spMkLst>
            <pc:docMk/>
            <pc:sldMk cId="3126584536" sldId="2146846401"/>
            <ac:spMk id="10" creationId="{A5B8E978-F446-1F16-200D-8D12F70153EA}"/>
          </ac:spMkLst>
        </pc:spChg>
        <pc:spChg chg="del mod">
          <ac:chgData name="Md Fahim Hasan" userId="92968fce-d4dd-4b9e-8635-66a07c9f98a7" providerId="ADAL" clId="{3A6F4128-6482-4C75-8C7D-220A75826C22}" dt="2023-07-21T23:05:53.420" v="14011" actId="478"/>
          <ac:spMkLst>
            <pc:docMk/>
            <pc:sldMk cId="3126584536" sldId="2146846401"/>
            <ac:spMk id="10" creationId="{DDD763E9-CE6D-7E6C-735D-E01DF9793F16}"/>
          </ac:spMkLst>
        </pc:spChg>
        <pc:spChg chg="add del mod">
          <ac:chgData name="Md Fahim Hasan" userId="92968fce-d4dd-4b9e-8635-66a07c9f98a7" providerId="ADAL" clId="{3A6F4128-6482-4C75-8C7D-220A75826C22}" dt="2023-07-21T23:05:56.783" v="14012" actId="478"/>
          <ac:spMkLst>
            <pc:docMk/>
            <pc:sldMk cId="3126584536" sldId="2146846401"/>
            <ac:spMk id="11" creationId="{1E408B26-D81E-9B77-1C88-EEEC3785D485}"/>
          </ac:spMkLst>
        </pc:spChg>
        <pc:spChg chg="add mod">
          <ac:chgData name="Md Fahim Hasan" userId="92968fce-d4dd-4b9e-8635-66a07c9f98a7" providerId="ADAL" clId="{3A6F4128-6482-4C75-8C7D-220A75826C22}" dt="2023-07-26T22:49:25.535" v="30883" actId="20577"/>
          <ac:spMkLst>
            <pc:docMk/>
            <pc:sldMk cId="3126584536" sldId="2146846401"/>
            <ac:spMk id="11" creationId="{69746201-59CB-8400-E348-6986280E0725}"/>
          </ac:spMkLst>
        </pc:spChg>
        <pc:spChg chg="add del mod">
          <ac:chgData name="Md Fahim Hasan" userId="92968fce-d4dd-4b9e-8635-66a07c9f98a7" providerId="ADAL" clId="{3A6F4128-6482-4C75-8C7D-220A75826C22}" dt="2023-07-25T20:18:07.006" v="20382" actId="478"/>
          <ac:spMkLst>
            <pc:docMk/>
            <pc:sldMk cId="3126584536" sldId="2146846401"/>
            <ac:spMk id="12" creationId="{2776910D-2906-B233-BEA6-7EC77961D1C8}"/>
          </ac:spMkLst>
        </pc:spChg>
        <pc:spChg chg="add mod">
          <ac:chgData name="Md Fahim Hasan" userId="92968fce-d4dd-4b9e-8635-66a07c9f98a7" providerId="ADAL" clId="{3A6F4128-6482-4C75-8C7D-220A75826C22}" dt="2023-07-26T22:49:27.795" v="30884" actId="20577"/>
          <ac:spMkLst>
            <pc:docMk/>
            <pc:sldMk cId="3126584536" sldId="2146846401"/>
            <ac:spMk id="12" creationId="{D82C1762-FD2A-563D-6DD0-F3B46230EEC3}"/>
          </ac:spMkLst>
        </pc:spChg>
        <pc:spChg chg="add del mod">
          <ac:chgData name="Md Fahim Hasan" userId="92968fce-d4dd-4b9e-8635-66a07c9f98a7" providerId="ADAL" clId="{3A6F4128-6482-4C75-8C7D-220A75826C22}" dt="2023-07-21T23:05:56.783" v="14012" actId="478"/>
          <ac:spMkLst>
            <pc:docMk/>
            <pc:sldMk cId="3126584536" sldId="2146846401"/>
            <ac:spMk id="13" creationId="{741424E7-716E-A758-EA86-DD17483D72ED}"/>
          </ac:spMkLst>
        </pc:spChg>
        <pc:spChg chg="add del mod">
          <ac:chgData name="Md Fahim Hasan" userId="92968fce-d4dd-4b9e-8635-66a07c9f98a7" providerId="ADAL" clId="{3A6F4128-6482-4C75-8C7D-220A75826C22}" dt="2023-07-25T20:13:41.808" v="20196" actId="478"/>
          <ac:spMkLst>
            <pc:docMk/>
            <pc:sldMk cId="3126584536" sldId="2146846401"/>
            <ac:spMk id="13" creationId="{95A2B6F1-92AA-96C7-988C-5CA6672B3834}"/>
          </ac:spMkLst>
        </pc:spChg>
        <pc:spChg chg="add mod">
          <ac:chgData name="Md Fahim Hasan" userId="92968fce-d4dd-4b9e-8635-66a07c9f98a7" providerId="ADAL" clId="{3A6F4128-6482-4C75-8C7D-220A75826C22}" dt="2023-07-27T19:41:34.629" v="37533" actId="1035"/>
          <ac:spMkLst>
            <pc:docMk/>
            <pc:sldMk cId="3126584536" sldId="2146846401"/>
            <ac:spMk id="13" creationId="{C2D262AF-1027-98E0-3D1B-22BE8C68EC0C}"/>
          </ac:spMkLst>
        </pc:spChg>
        <pc:spChg chg="add del mod">
          <ac:chgData name="Md Fahim Hasan" userId="92968fce-d4dd-4b9e-8635-66a07c9f98a7" providerId="ADAL" clId="{3A6F4128-6482-4C75-8C7D-220A75826C22}" dt="2023-07-21T23:05:56.783" v="14012" actId="478"/>
          <ac:spMkLst>
            <pc:docMk/>
            <pc:sldMk cId="3126584536" sldId="2146846401"/>
            <ac:spMk id="15" creationId="{ADC2C1C1-916A-E593-BB80-10BC7114DD29}"/>
          </ac:spMkLst>
        </pc:spChg>
        <pc:spChg chg="add del mod">
          <ac:chgData name="Md Fahim Hasan" userId="92968fce-d4dd-4b9e-8635-66a07c9f98a7" providerId="ADAL" clId="{3A6F4128-6482-4C75-8C7D-220A75826C22}" dt="2023-07-21T23:05:56.783" v="14012" actId="478"/>
          <ac:spMkLst>
            <pc:docMk/>
            <pc:sldMk cId="3126584536" sldId="2146846401"/>
            <ac:spMk id="17" creationId="{471AA7B1-73DB-7CB8-74D1-D53FFC8BC5F9}"/>
          </ac:spMkLst>
        </pc:spChg>
        <pc:spChg chg="add del mod">
          <ac:chgData name="Md Fahim Hasan" userId="92968fce-d4dd-4b9e-8635-66a07c9f98a7" providerId="ADAL" clId="{3A6F4128-6482-4C75-8C7D-220A75826C22}" dt="2023-07-26T20:45:53.301" v="28801" actId="478"/>
          <ac:spMkLst>
            <pc:docMk/>
            <pc:sldMk cId="3126584536" sldId="2146846401"/>
            <ac:spMk id="18" creationId="{6AF38CD4-2303-5394-1C78-46179EF735EF}"/>
          </ac:spMkLst>
        </pc:spChg>
        <pc:spChg chg="add del mod">
          <ac:chgData name="Md Fahim Hasan" userId="92968fce-d4dd-4b9e-8635-66a07c9f98a7" providerId="ADAL" clId="{3A6F4128-6482-4C75-8C7D-220A75826C22}" dt="2023-07-26T20:45:50.463" v="28799" actId="478"/>
          <ac:spMkLst>
            <pc:docMk/>
            <pc:sldMk cId="3126584536" sldId="2146846401"/>
            <ac:spMk id="19" creationId="{0F7DDFE2-D5D5-A079-2A25-6631807717B7}"/>
          </ac:spMkLst>
        </pc:spChg>
        <pc:spChg chg="del">
          <ac:chgData name="Md Fahim Hasan" userId="92968fce-d4dd-4b9e-8635-66a07c9f98a7" providerId="ADAL" clId="{3A6F4128-6482-4C75-8C7D-220A75826C22}" dt="2023-07-19T21:34:24.128" v="7064" actId="478"/>
          <ac:spMkLst>
            <pc:docMk/>
            <pc:sldMk cId="3126584536" sldId="2146846401"/>
            <ac:spMk id="19" creationId="{688695E6-03F4-CEE4-56E6-1BA85F5F2FA3}"/>
          </ac:spMkLst>
        </pc:spChg>
        <pc:spChg chg="del mod">
          <ac:chgData name="Md Fahim Hasan" userId="92968fce-d4dd-4b9e-8635-66a07c9f98a7" providerId="ADAL" clId="{3A6F4128-6482-4C75-8C7D-220A75826C22}" dt="2023-07-21T23:05:56.783" v="14012" actId="478"/>
          <ac:spMkLst>
            <pc:docMk/>
            <pc:sldMk cId="3126584536" sldId="2146846401"/>
            <ac:spMk id="20" creationId="{040BCA99-2FFF-618A-ADD3-A00006589972}"/>
          </ac:spMkLst>
        </pc:spChg>
        <pc:spChg chg="del">
          <ac:chgData name="Md Fahim Hasan" userId="92968fce-d4dd-4b9e-8635-66a07c9f98a7" providerId="ADAL" clId="{3A6F4128-6482-4C75-8C7D-220A75826C22}" dt="2023-07-19T21:36:13.489" v="7161" actId="478"/>
          <ac:spMkLst>
            <pc:docMk/>
            <pc:sldMk cId="3126584536" sldId="2146846401"/>
            <ac:spMk id="21" creationId="{98121FFD-BBA3-C6B1-9D6D-86E506BF8E8B}"/>
          </ac:spMkLst>
        </pc:spChg>
        <pc:picChg chg="add del mod">
          <ac:chgData name="Md Fahim Hasan" userId="92968fce-d4dd-4b9e-8635-66a07c9f98a7" providerId="ADAL" clId="{3A6F4128-6482-4C75-8C7D-220A75826C22}" dt="2023-07-21T23:06:00.882" v="14017" actId="478"/>
          <ac:picMkLst>
            <pc:docMk/>
            <pc:sldMk cId="3126584536" sldId="2146846401"/>
            <ac:picMk id="2" creationId="{C4F21C2E-6869-30CB-DB14-9CB4794C171D}"/>
          </ac:picMkLst>
        </pc:picChg>
        <pc:picChg chg="del">
          <ac:chgData name="Md Fahim Hasan" userId="92968fce-d4dd-4b9e-8635-66a07c9f98a7" providerId="ADAL" clId="{3A6F4128-6482-4C75-8C7D-220A75826C22}" dt="2023-07-19T21:36:12.069" v="7160" actId="478"/>
          <ac:picMkLst>
            <pc:docMk/>
            <pc:sldMk cId="3126584536" sldId="2146846401"/>
            <ac:picMk id="3" creationId="{72FDB37B-E1DB-C812-CAB0-7BE1829D147F}"/>
          </ac:picMkLst>
        </pc:picChg>
        <pc:picChg chg="add mod">
          <ac:chgData name="Md Fahim Hasan" userId="92968fce-d4dd-4b9e-8635-66a07c9f98a7" providerId="ADAL" clId="{3A6F4128-6482-4C75-8C7D-220A75826C22}" dt="2023-07-26T23:33:00.256" v="30939" actId="14100"/>
          <ac:picMkLst>
            <pc:docMk/>
            <pc:sldMk cId="3126584536" sldId="2146846401"/>
            <ac:picMk id="4" creationId="{C0ED79BE-6CE6-7120-DA3B-2AD0866D8AC1}"/>
          </ac:picMkLst>
        </pc:picChg>
        <pc:picChg chg="add mod">
          <ac:chgData name="Md Fahim Hasan" userId="92968fce-d4dd-4b9e-8635-66a07c9f98a7" providerId="ADAL" clId="{3A6F4128-6482-4C75-8C7D-220A75826C22}" dt="2023-07-26T23:32:19.257" v="30935" actId="1076"/>
          <ac:picMkLst>
            <pc:docMk/>
            <pc:sldMk cId="3126584536" sldId="2146846401"/>
            <ac:picMk id="5" creationId="{56CC5859-96F2-5188-5BEE-E299DB03A43A}"/>
          </ac:picMkLst>
        </pc:picChg>
        <pc:picChg chg="add mod">
          <ac:chgData name="Md Fahim Hasan" userId="92968fce-d4dd-4b9e-8635-66a07c9f98a7" providerId="ADAL" clId="{3A6F4128-6482-4C75-8C7D-220A75826C22}" dt="2023-07-26T20:44:49.741" v="28790" actId="14826"/>
          <ac:picMkLst>
            <pc:docMk/>
            <pc:sldMk cId="3126584536" sldId="2146846401"/>
            <ac:picMk id="6" creationId="{7CF2DA5D-F5EB-25AB-490D-0B21CB7C30F2}"/>
          </ac:picMkLst>
        </pc:picChg>
        <pc:picChg chg="del mod">
          <ac:chgData name="Md Fahim Hasan" userId="92968fce-d4dd-4b9e-8635-66a07c9f98a7" providerId="ADAL" clId="{3A6F4128-6482-4C75-8C7D-220A75826C22}" dt="2023-07-19T21:47:21.015" v="7300" actId="478"/>
          <ac:picMkLst>
            <pc:docMk/>
            <pc:sldMk cId="3126584536" sldId="2146846401"/>
            <ac:picMk id="6" creationId="{B09638A6-6111-A6EC-914F-C98B17862DE6}"/>
          </ac:picMkLst>
        </pc:picChg>
        <pc:picChg chg="del">
          <ac:chgData name="Md Fahim Hasan" userId="92968fce-d4dd-4b9e-8635-66a07c9f98a7" providerId="ADAL" clId="{3A6F4128-6482-4C75-8C7D-220A75826C22}" dt="2023-07-19T21:34:22.309" v="7063" actId="478"/>
          <ac:picMkLst>
            <pc:docMk/>
            <pc:sldMk cId="3126584536" sldId="2146846401"/>
            <ac:picMk id="8" creationId="{1F7DC9F6-9984-9A8A-6C84-FC2CCC04B586}"/>
          </ac:picMkLst>
        </pc:picChg>
        <pc:picChg chg="add del mod">
          <ac:chgData name="Md Fahim Hasan" userId="92968fce-d4dd-4b9e-8635-66a07c9f98a7" providerId="ADAL" clId="{3A6F4128-6482-4C75-8C7D-220A75826C22}" dt="2023-07-21T23:05:56.783" v="14012" actId="478"/>
          <ac:picMkLst>
            <pc:docMk/>
            <pc:sldMk cId="3126584536" sldId="2146846401"/>
            <ac:picMk id="12" creationId="{85ADD9A6-CD7A-C653-544B-9C3419417AF2}"/>
          </ac:picMkLst>
        </pc:picChg>
        <pc:picChg chg="add del mod">
          <ac:chgData name="Md Fahim Hasan" userId="92968fce-d4dd-4b9e-8635-66a07c9f98a7" providerId="ADAL" clId="{3A6F4128-6482-4C75-8C7D-220A75826C22}" dt="2023-07-21T23:05:56.783" v="14012" actId="478"/>
          <ac:picMkLst>
            <pc:docMk/>
            <pc:sldMk cId="3126584536" sldId="2146846401"/>
            <ac:picMk id="14" creationId="{13C3F13F-F854-DEB8-9795-32B563C93F61}"/>
          </ac:picMkLst>
        </pc:picChg>
        <pc:picChg chg="add del mod">
          <ac:chgData name="Md Fahim Hasan" userId="92968fce-d4dd-4b9e-8635-66a07c9f98a7" providerId="ADAL" clId="{3A6F4128-6482-4C75-8C7D-220A75826C22}" dt="2023-07-21T23:05:56.783" v="14012" actId="478"/>
          <ac:picMkLst>
            <pc:docMk/>
            <pc:sldMk cId="3126584536" sldId="2146846401"/>
            <ac:picMk id="16" creationId="{BD2B7106-6C58-68BD-9780-79D3CE0C0B44}"/>
          </ac:picMkLst>
        </pc:picChg>
        <pc:picChg chg="add del mod">
          <ac:chgData name="Md Fahim Hasan" userId="92968fce-d4dd-4b9e-8635-66a07c9f98a7" providerId="ADAL" clId="{3A6F4128-6482-4C75-8C7D-220A75826C22}" dt="2023-07-21T23:06:00.441" v="14016" actId="478"/>
          <ac:picMkLst>
            <pc:docMk/>
            <pc:sldMk cId="3126584536" sldId="2146846401"/>
            <ac:picMk id="23" creationId="{2E82135A-B0F3-5B97-131F-16F643ACC49B}"/>
          </ac:picMkLst>
        </pc:picChg>
        <pc:cxnChg chg="add del mod">
          <ac:chgData name="Md Fahim Hasan" userId="92968fce-d4dd-4b9e-8635-66a07c9f98a7" providerId="ADAL" clId="{3A6F4128-6482-4C75-8C7D-220A75826C22}" dt="2023-07-21T23:05:59.851" v="14015" actId="478"/>
          <ac:cxnSpMkLst>
            <pc:docMk/>
            <pc:sldMk cId="3126584536" sldId="2146846401"/>
            <ac:cxnSpMk id="22" creationId="{1B0827BE-D4E1-47BF-4839-35FC96A07406}"/>
          </ac:cxnSpMkLst>
        </pc:cxnChg>
        <pc:cxnChg chg="del mod">
          <ac:chgData name="Md Fahim Hasan" userId="92968fce-d4dd-4b9e-8635-66a07c9f98a7" providerId="ADAL" clId="{3A6F4128-6482-4C75-8C7D-220A75826C22}" dt="2023-07-19T21:37:02.706" v="7168" actId="478"/>
          <ac:cxnSpMkLst>
            <pc:docMk/>
            <pc:sldMk cId="3126584536" sldId="2146846401"/>
            <ac:cxnSpMk id="24" creationId="{99D01E62-F77D-E62A-0C2D-824A66B5AD7B}"/>
          </ac:cxnSpMkLst>
        </pc:cxnChg>
      </pc:sldChg>
      <pc:sldChg chg="addSp delSp modSp add del mod addAnim delAnim modAnim">
        <pc:chgData name="Md Fahim Hasan" userId="92968fce-d4dd-4b9e-8635-66a07c9f98a7" providerId="ADAL" clId="{3A6F4128-6482-4C75-8C7D-220A75826C22}" dt="2023-07-21T23:23:12.867" v="14145" actId="47"/>
        <pc:sldMkLst>
          <pc:docMk/>
          <pc:sldMk cId="3852691941" sldId="2146846402"/>
        </pc:sldMkLst>
        <pc:spChg chg="mod">
          <ac:chgData name="Md Fahim Hasan" userId="92968fce-d4dd-4b9e-8635-66a07c9f98a7" providerId="ADAL" clId="{3A6F4128-6482-4C75-8C7D-220A75826C22}" dt="2023-07-20T14:16:33.182" v="7501" actId="20577"/>
          <ac:spMkLst>
            <pc:docMk/>
            <pc:sldMk cId="3852691941" sldId="2146846402"/>
            <ac:spMk id="5" creationId="{4F1C69C7-473D-57DA-412A-0612D6374240}"/>
          </ac:spMkLst>
        </pc:spChg>
        <pc:spChg chg="del">
          <ac:chgData name="Md Fahim Hasan" userId="92968fce-d4dd-4b9e-8635-66a07c9f98a7" providerId="ADAL" clId="{3A6F4128-6482-4C75-8C7D-220A75826C22}" dt="2023-07-20T14:16:09.847" v="7479" actId="478"/>
          <ac:spMkLst>
            <pc:docMk/>
            <pc:sldMk cId="3852691941" sldId="2146846402"/>
            <ac:spMk id="7" creationId="{C1556E6B-31E4-A913-D61C-0DCB77CE068F}"/>
          </ac:spMkLst>
        </pc:spChg>
        <pc:spChg chg="add del mod">
          <ac:chgData name="Md Fahim Hasan" userId="92968fce-d4dd-4b9e-8635-66a07c9f98a7" providerId="ADAL" clId="{3A6F4128-6482-4C75-8C7D-220A75826C22}" dt="2023-07-21T14:47:20.544" v="10116" actId="20577"/>
          <ac:spMkLst>
            <pc:docMk/>
            <pc:sldMk cId="3852691941" sldId="2146846402"/>
            <ac:spMk id="8" creationId="{5146555C-4CEE-7B93-198D-FECB1EA9BBA4}"/>
          </ac:spMkLst>
        </pc:spChg>
        <pc:spChg chg="mod">
          <ac:chgData name="Md Fahim Hasan" userId="92968fce-d4dd-4b9e-8635-66a07c9f98a7" providerId="ADAL" clId="{3A6F4128-6482-4C75-8C7D-220A75826C22}" dt="2023-07-20T18:21:22.687" v="9406" actId="20577"/>
          <ac:spMkLst>
            <pc:docMk/>
            <pc:sldMk cId="3852691941" sldId="2146846402"/>
            <ac:spMk id="9" creationId="{DCE765C9-F866-A10C-05BC-B0F5CF7D4FA9}"/>
          </ac:spMkLst>
        </pc:spChg>
        <pc:picChg chg="mod">
          <ac:chgData name="Md Fahim Hasan" userId="92968fce-d4dd-4b9e-8635-66a07c9f98a7" providerId="ADAL" clId="{3A6F4128-6482-4C75-8C7D-220A75826C22}" dt="2023-07-20T14:17:13.854" v="7538" actId="14100"/>
          <ac:picMkLst>
            <pc:docMk/>
            <pc:sldMk cId="3852691941" sldId="2146846402"/>
            <ac:picMk id="3" creationId="{16BBEA49-B7C7-2619-44DA-70CDEE7990C0}"/>
          </ac:picMkLst>
        </pc:picChg>
        <pc:picChg chg="add del mod">
          <ac:chgData name="Md Fahim Hasan" userId="92968fce-d4dd-4b9e-8635-66a07c9f98a7" providerId="ADAL" clId="{3A6F4128-6482-4C75-8C7D-220A75826C22}" dt="2023-07-21T14:47:14.120" v="10106" actId="14826"/>
          <ac:picMkLst>
            <pc:docMk/>
            <pc:sldMk cId="3852691941" sldId="2146846402"/>
            <ac:picMk id="4" creationId="{D17D41B0-E2D2-4413-CA5F-A3540EAD289B}"/>
          </ac:picMkLst>
        </pc:picChg>
      </pc:sldChg>
      <pc:sldChg chg="addSp delSp modSp add del mod delAnim modAnim">
        <pc:chgData name="Md Fahim Hasan" userId="92968fce-d4dd-4b9e-8635-66a07c9f98a7" providerId="ADAL" clId="{3A6F4128-6482-4C75-8C7D-220A75826C22}" dt="2023-07-21T23:23:21.450" v="14147" actId="47"/>
        <pc:sldMkLst>
          <pc:docMk/>
          <pc:sldMk cId="2941306771" sldId="2146846403"/>
        </pc:sldMkLst>
        <pc:spChg chg="add del mod">
          <ac:chgData name="Md Fahim Hasan" userId="92968fce-d4dd-4b9e-8635-66a07c9f98a7" providerId="ADAL" clId="{3A6F4128-6482-4C75-8C7D-220A75826C22}" dt="2023-07-20T14:32:37.745" v="7886"/>
          <ac:spMkLst>
            <pc:docMk/>
            <pc:sldMk cId="2941306771" sldId="2146846403"/>
            <ac:spMk id="2" creationId="{67497FD9-C49D-77EB-B2B4-3E49F5364C24}"/>
          </ac:spMkLst>
        </pc:spChg>
        <pc:spChg chg="add del mod">
          <ac:chgData name="Md Fahim Hasan" userId="92968fce-d4dd-4b9e-8635-66a07c9f98a7" providerId="ADAL" clId="{3A6F4128-6482-4C75-8C7D-220A75826C22}" dt="2023-07-21T17:38:26.598" v="11331" actId="21"/>
          <ac:spMkLst>
            <pc:docMk/>
            <pc:sldMk cId="2941306771" sldId="2146846403"/>
            <ac:spMk id="4" creationId="{F6135BA9-59E7-2927-7006-84CCCDE289F7}"/>
          </ac:spMkLst>
        </pc:spChg>
        <pc:spChg chg="del">
          <ac:chgData name="Md Fahim Hasan" userId="92968fce-d4dd-4b9e-8635-66a07c9f98a7" providerId="ADAL" clId="{3A6F4128-6482-4C75-8C7D-220A75826C22}" dt="2023-07-20T14:32:04.845" v="7879" actId="478"/>
          <ac:spMkLst>
            <pc:docMk/>
            <pc:sldMk cId="2941306771" sldId="2146846403"/>
            <ac:spMk id="7" creationId="{C1556E6B-31E4-A913-D61C-0DCB77CE068F}"/>
          </ac:spMkLst>
        </pc:spChg>
        <pc:spChg chg="mod">
          <ac:chgData name="Md Fahim Hasan" userId="92968fce-d4dd-4b9e-8635-66a07c9f98a7" providerId="ADAL" clId="{3A6F4128-6482-4C75-8C7D-220A75826C22}" dt="2023-07-20T18:21:19.541" v="9405" actId="27636"/>
          <ac:spMkLst>
            <pc:docMk/>
            <pc:sldMk cId="2941306771" sldId="2146846403"/>
            <ac:spMk id="9" creationId="{DCE765C9-F866-A10C-05BC-B0F5CF7D4FA9}"/>
          </ac:spMkLst>
        </pc:spChg>
        <pc:spChg chg="del">
          <ac:chgData name="Md Fahim Hasan" userId="92968fce-d4dd-4b9e-8635-66a07c9f98a7" providerId="ADAL" clId="{3A6F4128-6482-4C75-8C7D-220A75826C22}" dt="2023-07-20T14:32:41.435" v="7887" actId="478"/>
          <ac:spMkLst>
            <pc:docMk/>
            <pc:sldMk cId="2941306771" sldId="2146846403"/>
            <ac:spMk id="10" creationId="{857B749E-6732-0406-D2BE-7CDBCA431B79}"/>
          </ac:spMkLst>
        </pc:spChg>
        <pc:spChg chg="del">
          <ac:chgData name="Md Fahim Hasan" userId="92968fce-d4dd-4b9e-8635-66a07c9f98a7" providerId="ADAL" clId="{3A6F4128-6482-4C75-8C7D-220A75826C22}" dt="2023-07-20T14:32:41.435" v="7887" actId="478"/>
          <ac:spMkLst>
            <pc:docMk/>
            <pc:sldMk cId="2941306771" sldId="2146846403"/>
            <ac:spMk id="13" creationId="{0DBAA058-1504-E777-7B09-F0DFF0A0CF99}"/>
          </ac:spMkLst>
        </pc:spChg>
        <pc:spChg chg="del">
          <ac:chgData name="Md Fahim Hasan" userId="92968fce-d4dd-4b9e-8635-66a07c9f98a7" providerId="ADAL" clId="{3A6F4128-6482-4C75-8C7D-220A75826C22}" dt="2023-07-20T14:32:06.178" v="7880" actId="478"/>
          <ac:spMkLst>
            <pc:docMk/>
            <pc:sldMk cId="2941306771" sldId="2146846403"/>
            <ac:spMk id="18" creationId="{7C4723AC-A666-87C9-CF2E-8AEFBF9A9098}"/>
          </ac:spMkLst>
        </pc:spChg>
        <pc:spChg chg="del">
          <ac:chgData name="Md Fahim Hasan" userId="92968fce-d4dd-4b9e-8635-66a07c9f98a7" providerId="ADAL" clId="{3A6F4128-6482-4C75-8C7D-220A75826C22}" dt="2023-07-20T14:32:41.435" v="7887" actId="478"/>
          <ac:spMkLst>
            <pc:docMk/>
            <pc:sldMk cId="2941306771" sldId="2146846403"/>
            <ac:spMk id="19" creationId="{F5E98535-C369-7EFF-A731-20DBAFF5BD2C}"/>
          </ac:spMkLst>
        </pc:spChg>
        <pc:spChg chg="del">
          <ac:chgData name="Md Fahim Hasan" userId="92968fce-d4dd-4b9e-8635-66a07c9f98a7" providerId="ADAL" clId="{3A6F4128-6482-4C75-8C7D-220A75826C22}" dt="2023-07-20T14:32:41.435" v="7887" actId="478"/>
          <ac:spMkLst>
            <pc:docMk/>
            <pc:sldMk cId="2941306771" sldId="2146846403"/>
            <ac:spMk id="20" creationId="{1DE051DC-3F4E-DFDD-A032-C1B0BB72BF6D}"/>
          </ac:spMkLst>
        </pc:spChg>
        <pc:spChg chg="del">
          <ac:chgData name="Md Fahim Hasan" userId="92968fce-d4dd-4b9e-8635-66a07c9f98a7" providerId="ADAL" clId="{3A6F4128-6482-4C75-8C7D-220A75826C22}" dt="2023-07-20T14:32:41.435" v="7887" actId="478"/>
          <ac:spMkLst>
            <pc:docMk/>
            <pc:sldMk cId="2941306771" sldId="2146846403"/>
            <ac:spMk id="21" creationId="{50793ED0-B4CD-50DB-3B4A-57FCDEB52756}"/>
          </ac:spMkLst>
        </pc:spChg>
        <pc:spChg chg="del">
          <ac:chgData name="Md Fahim Hasan" userId="92968fce-d4dd-4b9e-8635-66a07c9f98a7" providerId="ADAL" clId="{3A6F4128-6482-4C75-8C7D-220A75826C22}" dt="2023-07-20T14:32:41.435" v="7887" actId="478"/>
          <ac:spMkLst>
            <pc:docMk/>
            <pc:sldMk cId="2941306771" sldId="2146846403"/>
            <ac:spMk id="22" creationId="{EB753DD7-438C-13DC-C408-3AF0BD2E70E9}"/>
          </ac:spMkLst>
        </pc:spChg>
        <pc:picChg chg="mod">
          <ac:chgData name="Md Fahim Hasan" userId="92968fce-d4dd-4b9e-8635-66a07c9f98a7" providerId="ADAL" clId="{3A6F4128-6482-4C75-8C7D-220A75826C22}" dt="2023-07-20T14:45:12.010" v="7919" actId="1076"/>
          <ac:picMkLst>
            <pc:docMk/>
            <pc:sldMk cId="2941306771" sldId="2146846403"/>
            <ac:picMk id="3" creationId="{16BBEA49-B7C7-2619-44DA-70CDEE7990C0}"/>
          </ac:picMkLst>
        </pc:picChg>
      </pc:sldChg>
      <pc:sldChg chg="addSp modSp add mod ord modAnim">
        <pc:chgData name="Md Fahim Hasan" userId="92968fce-d4dd-4b9e-8635-66a07c9f98a7" providerId="ADAL" clId="{3A6F4128-6482-4C75-8C7D-220A75826C22}" dt="2023-07-27T15:51:58.279" v="35706"/>
        <pc:sldMkLst>
          <pc:docMk/>
          <pc:sldMk cId="3556960417" sldId="2146846404"/>
        </pc:sldMkLst>
        <pc:spChg chg="add mod">
          <ac:chgData name="Md Fahim Hasan" userId="92968fce-d4dd-4b9e-8635-66a07c9f98a7" providerId="ADAL" clId="{3A6F4128-6482-4C75-8C7D-220A75826C22}" dt="2023-07-24T19:11:11.267" v="17721" actId="1076"/>
          <ac:spMkLst>
            <pc:docMk/>
            <pc:sldMk cId="3556960417" sldId="2146846404"/>
            <ac:spMk id="2" creationId="{D7F0CE40-FD58-2883-D94E-AB5BE1E84661}"/>
          </ac:spMkLst>
        </pc:spChg>
        <pc:spChg chg="mod">
          <ac:chgData name="Md Fahim Hasan" userId="92968fce-d4dd-4b9e-8635-66a07c9f98a7" providerId="ADAL" clId="{3A6F4128-6482-4C75-8C7D-220A75826C22}" dt="2023-07-27T15:51:58.279" v="35706"/>
          <ac:spMkLst>
            <pc:docMk/>
            <pc:sldMk cId="3556960417" sldId="2146846404"/>
            <ac:spMk id="3" creationId="{80EC1DD3-5F71-1BF9-3CE1-85B58A6ED042}"/>
          </ac:spMkLst>
        </pc:spChg>
        <pc:spChg chg="add mod">
          <ac:chgData name="Md Fahim Hasan" userId="92968fce-d4dd-4b9e-8635-66a07c9f98a7" providerId="ADAL" clId="{3A6F4128-6482-4C75-8C7D-220A75826C22}" dt="2023-07-24T19:11:15.207" v="17722" actId="1076"/>
          <ac:spMkLst>
            <pc:docMk/>
            <pc:sldMk cId="3556960417" sldId="2146846404"/>
            <ac:spMk id="5" creationId="{6A27386A-B57B-A363-CCC3-30DA88AE1FEE}"/>
          </ac:spMkLst>
        </pc:spChg>
        <pc:spChg chg="mod">
          <ac:chgData name="Md Fahim Hasan" userId="92968fce-d4dd-4b9e-8635-66a07c9f98a7" providerId="ADAL" clId="{3A6F4128-6482-4C75-8C7D-220A75826C22}" dt="2023-07-20T18:07:08.665" v="9330" actId="1076"/>
          <ac:spMkLst>
            <pc:docMk/>
            <pc:sldMk cId="3556960417" sldId="2146846404"/>
            <ac:spMk id="9" creationId="{DCE765C9-F866-A10C-05BC-B0F5CF7D4FA9}"/>
          </ac:spMkLst>
        </pc:spChg>
        <pc:picChg chg="add mod">
          <ac:chgData name="Md Fahim Hasan" userId="92968fce-d4dd-4b9e-8635-66a07c9f98a7" providerId="ADAL" clId="{3A6F4128-6482-4C75-8C7D-220A75826C22}" dt="2023-07-20T18:06:49.958" v="9328" actId="1076"/>
          <ac:picMkLst>
            <pc:docMk/>
            <pc:sldMk cId="3556960417" sldId="2146846404"/>
            <ac:picMk id="4" creationId="{1F3928B2-2EB8-90D8-00E2-DB5968469B04}"/>
          </ac:picMkLst>
        </pc:picChg>
      </pc:sldChg>
      <pc:sldChg chg="addSp delSp modSp add mod ord delAnim modAnim modNotesTx">
        <pc:chgData name="Md Fahim Hasan" userId="92968fce-d4dd-4b9e-8635-66a07c9f98a7" providerId="ADAL" clId="{3A6F4128-6482-4C75-8C7D-220A75826C22}" dt="2023-07-27T15:51:58.279" v="35706"/>
        <pc:sldMkLst>
          <pc:docMk/>
          <pc:sldMk cId="4158318354" sldId="2146846405"/>
        </pc:sldMkLst>
        <pc:spChg chg="add mod">
          <ac:chgData name="Md Fahim Hasan" userId="92968fce-d4dd-4b9e-8635-66a07c9f98a7" providerId="ADAL" clId="{3A6F4128-6482-4C75-8C7D-220A75826C22}" dt="2023-07-24T16:54:23.840" v="15253" actId="1076"/>
          <ac:spMkLst>
            <pc:docMk/>
            <pc:sldMk cId="4158318354" sldId="2146846405"/>
            <ac:spMk id="2" creationId="{5CA4440B-028E-4F88-3186-F24679B2C4C9}"/>
          </ac:spMkLst>
        </pc:spChg>
        <pc:spChg chg="mod">
          <ac:chgData name="Md Fahim Hasan" userId="92968fce-d4dd-4b9e-8635-66a07c9f98a7" providerId="ADAL" clId="{3A6F4128-6482-4C75-8C7D-220A75826C22}" dt="2023-07-27T15:51:58.279" v="35706"/>
          <ac:spMkLst>
            <pc:docMk/>
            <pc:sldMk cId="4158318354" sldId="2146846405"/>
            <ac:spMk id="3" creationId="{00F22E15-01EE-FF64-1C18-383243B491A9}"/>
          </ac:spMkLst>
        </pc:spChg>
        <pc:spChg chg="add mod">
          <ac:chgData name="Md Fahim Hasan" userId="92968fce-d4dd-4b9e-8635-66a07c9f98a7" providerId="ADAL" clId="{3A6F4128-6482-4C75-8C7D-220A75826C22}" dt="2023-07-20T15:22:30.006" v="8040" actId="1076"/>
          <ac:spMkLst>
            <pc:docMk/>
            <pc:sldMk cId="4158318354" sldId="2146846405"/>
            <ac:spMk id="4" creationId="{9BBBEEA8-01ED-B542-9A63-9A69DC65E6BA}"/>
          </ac:spMkLst>
        </pc:spChg>
        <pc:spChg chg="add mod">
          <ac:chgData name="Md Fahim Hasan" userId="92968fce-d4dd-4b9e-8635-66a07c9f98a7" providerId="ADAL" clId="{3A6F4128-6482-4C75-8C7D-220A75826C22}" dt="2023-07-20T15:37:47.181" v="8319" actId="12"/>
          <ac:spMkLst>
            <pc:docMk/>
            <pc:sldMk cId="4158318354" sldId="2146846405"/>
            <ac:spMk id="5" creationId="{FBF989BE-2FC9-C908-243D-DA2D7ECAB17C}"/>
          </ac:spMkLst>
        </pc:spChg>
        <pc:spChg chg="add mod">
          <ac:chgData name="Md Fahim Hasan" userId="92968fce-d4dd-4b9e-8635-66a07c9f98a7" providerId="ADAL" clId="{3A6F4128-6482-4C75-8C7D-220A75826C22}" dt="2023-07-24T16:54:14.786" v="15252" actId="14100"/>
          <ac:spMkLst>
            <pc:docMk/>
            <pc:sldMk cId="4158318354" sldId="2146846405"/>
            <ac:spMk id="6" creationId="{E9090D9C-F1FA-CA30-D8D9-B93C832FDBD4}"/>
          </ac:spMkLst>
        </pc:spChg>
        <pc:spChg chg="del">
          <ac:chgData name="Md Fahim Hasan" userId="92968fce-d4dd-4b9e-8635-66a07c9f98a7" providerId="ADAL" clId="{3A6F4128-6482-4C75-8C7D-220A75826C22}" dt="2023-07-20T15:02:13.602" v="7985" actId="478"/>
          <ac:spMkLst>
            <pc:docMk/>
            <pc:sldMk cId="4158318354" sldId="2146846405"/>
            <ac:spMk id="7" creationId="{C1556E6B-31E4-A913-D61C-0DCB77CE068F}"/>
          </ac:spMkLst>
        </pc:spChg>
        <pc:spChg chg="add mod">
          <ac:chgData name="Md Fahim Hasan" userId="92968fce-d4dd-4b9e-8635-66a07c9f98a7" providerId="ADAL" clId="{3A6F4128-6482-4C75-8C7D-220A75826C22}" dt="2023-07-24T16:54:50.679" v="15264" actId="1076"/>
          <ac:spMkLst>
            <pc:docMk/>
            <pc:sldMk cId="4158318354" sldId="2146846405"/>
            <ac:spMk id="8" creationId="{130E9D39-7572-D5EE-8C78-7FDFC7B77798}"/>
          </ac:spMkLst>
        </pc:spChg>
        <pc:spChg chg="mod">
          <ac:chgData name="Md Fahim Hasan" userId="92968fce-d4dd-4b9e-8635-66a07c9f98a7" providerId="ADAL" clId="{3A6F4128-6482-4C75-8C7D-220A75826C22}" dt="2023-07-24T16:55:02.600" v="15267" actId="27636"/>
          <ac:spMkLst>
            <pc:docMk/>
            <pc:sldMk cId="4158318354" sldId="2146846405"/>
            <ac:spMk id="9" creationId="{DCE765C9-F866-A10C-05BC-B0F5CF7D4FA9}"/>
          </ac:spMkLst>
        </pc:spChg>
        <pc:spChg chg="del">
          <ac:chgData name="Md Fahim Hasan" userId="92968fce-d4dd-4b9e-8635-66a07c9f98a7" providerId="ADAL" clId="{3A6F4128-6482-4C75-8C7D-220A75826C22}" dt="2023-07-20T15:20:04.203" v="7987" actId="478"/>
          <ac:spMkLst>
            <pc:docMk/>
            <pc:sldMk cId="4158318354" sldId="2146846405"/>
            <ac:spMk id="10" creationId="{857B749E-6732-0406-D2BE-7CDBCA431B79}"/>
          </ac:spMkLst>
        </pc:spChg>
        <pc:spChg chg="add mod">
          <ac:chgData name="Md Fahim Hasan" userId="92968fce-d4dd-4b9e-8635-66a07c9f98a7" providerId="ADAL" clId="{3A6F4128-6482-4C75-8C7D-220A75826C22}" dt="2023-07-24T16:54:50.679" v="15264" actId="1076"/>
          <ac:spMkLst>
            <pc:docMk/>
            <pc:sldMk cId="4158318354" sldId="2146846405"/>
            <ac:spMk id="11" creationId="{DF0F00DF-0893-8866-FE70-C4DEA8AA9BAF}"/>
          </ac:spMkLst>
        </pc:spChg>
        <pc:spChg chg="add mod">
          <ac:chgData name="Md Fahim Hasan" userId="92968fce-d4dd-4b9e-8635-66a07c9f98a7" providerId="ADAL" clId="{3A6F4128-6482-4C75-8C7D-220A75826C22}" dt="2023-07-25T20:39:36.637" v="20699" actId="1076"/>
          <ac:spMkLst>
            <pc:docMk/>
            <pc:sldMk cId="4158318354" sldId="2146846405"/>
            <ac:spMk id="12" creationId="{3D9AEB3F-97A4-58D7-EBA2-A315915EA8D1}"/>
          </ac:spMkLst>
        </pc:spChg>
        <pc:spChg chg="del">
          <ac:chgData name="Md Fahim Hasan" userId="92968fce-d4dd-4b9e-8635-66a07c9f98a7" providerId="ADAL" clId="{3A6F4128-6482-4C75-8C7D-220A75826C22}" dt="2023-07-20T15:20:04.203" v="7987" actId="478"/>
          <ac:spMkLst>
            <pc:docMk/>
            <pc:sldMk cId="4158318354" sldId="2146846405"/>
            <ac:spMk id="13" creationId="{0DBAA058-1504-E777-7B09-F0DFF0A0CF99}"/>
          </ac:spMkLst>
        </pc:spChg>
        <pc:spChg chg="add del mod">
          <ac:chgData name="Md Fahim Hasan" userId="92968fce-d4dd-4b9e-8635-66a07c9f98a7" providerId="ADAL" clId="{3A6F4128-6482-4C75-8C7D-220A75826C22}" dt="2023-07-24T16:55:15.099" v="15270" actId="478"/>
          <ac:spMkLst>
            <pc:docMk/>
            <pc:sldMk cId="4158318354" sldId="2146846405"/>
            <ac:spMk id="13" creationId="{2E5455B5-EA01-E3E6-2A3B-F41E1FB9C6FF}"/>
          </ac:spMkLst>
        </pc:spChg>
        <pc:spChg chg="add del mod">
          <ac:chgData name="Md Fahim Hasan" userId="92968fce-d4dd-4b9e-8635-66a07c9f98a7" providerId="ADAL" clId="{3A6F4128-6482-4C75-8C7D-220A75826C22}" dt="2023-07-24T16:54:42.576" v="15263" actId="478"/>
          <ac:spMkLst>
            <pc:docMk/>
            <pc:sldMk cId="4158318354" sldId="2146846405"/>
            <ac:spMk id="14" creationId="{4199DBE8-63F3-4383-0991-511B562001EC}"/>
          </ac:spMkLst>
        </pc:spChg>
        <pc:spChg chg="add del mod">
          <ac:chgData name="Md Fahim Hasan" userId="92968fce-d4dd-4b9e-8635-66a07c9f98a7" providerId="ADAL" clId="{3A6F4128-6482-4C75-8C7D-220A75826C22}" dt="2023-07-24T16:54:39.371" v="15262" actId="478"/>
          <ac:spMkLst>
            <pc:docMk/>
            <pc:sldMk cId="4158318354" sldId="2146846405"/>
            <ac:spMk id="16" creationId="{AF6B1778-46F0-7230-0D81-AE00CA5D1F0B}"/>
          </ac:spMkLst>
        </pc:spChg>
        <pc:spChg chg="add del mod">
          <ac:chgData name="Md Fahim Hasan" userId="92968fce-d4dd-4b9e-8635-66a07c9f98a7" providerId="ADAL" clId="{3A6F4128-6482-4C75-8C7D-220A75826C22}" dt="2023-07-24T16:54:38.627" v="15261" actId="478"/>
          <ac:spMkLst>
            <pc:docMk/>
            <pc:sldMk cId="4158318354" sldId="2146846405"/>
            <ac:spMk id="17" creationId="{31191FEE-0621-A450-9501-BCDCA0F9CB2A}"/>
          </ac:spMkLst>
        </pc:spChg>
        <pc:spChg chg="del">
          <ac:chgData name="Md Fahim Hasan" userId="92968fce-d4dd-4b9e-8635-66a07c9f98a7" providerId="ADAL" clId="{3A6F4128-6482-4C75-8C7D-220A75826C22}" dt="2023-07-20T15:20:04.203" v="7987" actId="478"/>
          <ac:spMkLst>
            <pc:docMk/>
            <pc:sldMk cId="4158318354" sldId="2146846405"/>
            <ac:spMk id="18" creationId="{7C4723AC-A666-87C9-CF2E-8AEFBF9A9098}"/>
          </ac:spMkLst>
        </pc:spChg>
        <pc:spChg chg="del">
          <ac:chgData name="Md Fahim Hasan" userId="92968fce-d4dd-4b9e-8635-66a07c9f98a7" providerId="ADAL" clId="{3A6F4128-6482-4C75-8C7D-220A75826C22}" dt="2023-07-20T15:20:04.203" v="7987" actId="478"/>
          <ac:spMkLst>
            <pc:docMk/>
            <pc:sldMk cId="4158318354" sldId="2146846405"/>
            <ac:spMk id="19" creationId="{F5E98535-C369-7EFF-A731-20DBAFF5BD2C}"/>
          </ac:spMkLst>
        </pc:spChg>
        <pc:spChg chg="del">
          <ac:chgData name="Md Fahim Hasan" userId="92968fce-d4dd-4b9e-8635-66a07c9f98a7" providerId="ADAL" clId="{3A6F4128-6482-4C75-8C7D-220A75826C22}" dt="2023-07-20T15:20:04.203" v="7987" actId="478"/>
          <ac:spMkLst>
            <pc:docMk/>
            <pc:sldMk cId="4158318354" sldId="2146846405"/>
            <ac:spMk id="20" creationId="{1DE051DC-3F4E-DFDD-A032-C1B0BB72BF6D}"/>
          </ac:spMkLst>
        </pc:spChg>
        <pc:spChg chg="del">
          <ac:chgData name="Md Fahim Hasan" userId="92968fce-d4dd-4b9e-8635-66a07c9f98a7" providerId="ADAL" clId="{3A6F4128-6482-4C75-8C7D-220A75826C22}" dt="2023-07-20T15:20:04.203" v="7987" actId="478"/>
          <ac:spMkLst>
            <pc:docMk/>
            <pc:sldMk cId="4158318354" sldId="2146846405"/>
            <ac:spMk id="21" creationId="{50793ED0-B4CD-50DB-3B4A-57FCDEB52756}"/>
          </ac:spMkLst>
        </pc:spChg>
        <pc:spChg chg="add mod">
          <ac:chgData name="Md Fahim Hasan" userId="92968fce-d4dd-4b9e-8635-66a07c9f98a7" providerId="ADAL" clId="{3A6F4128-6482-4C75-8C7D-220A75826C22}" dt="2023-07-25T20:50:02.253" v="20758" actId="14100"/>
          <ac:spMkLst>
            <pc:docMk/>
            <pc:sldMk cId="4158318354" sldId="2146846405"/>
            <ac:spMk id="22" creationId="{84A884FF-D6E8-DB6E-BE2D-CD78B2329537}"/>
          </ac:spMkLst>
        </pc:spChg>
        <pc:spChg chg="del">
          <ac:chgData name="Md Fahim Hasan" userId="92968fce-d4dd-4b9e-8635-66a07c9f98a7" providerId="ADAL" clId="{3A6F4128-6482-4C75-8C7D-220A75826C22}" dt="2023-07-20T15:20:04.203" v="7987" actId="478"/>
          <ac:spMkLst>
            <pc:docMk/>
            <pc:sldMk cId="4158318354" sldId="2146846405"/>
            <ac:spMk id="22" creationId="{EB753DD7-438C-13DC-C408-3AF0BD2E70E9}"/>
          </ac:spMkLst>
        </pc:spChg>
        <pc:spChg chg="add del mod">
          <ac:chgData name="Md Fahim Hasan" userId="92968fce-d4dd-4b9e-8635-66a07c9f98a7" providerId="ADAL" clId="{3A6F4128-6482-4C75-8C7D-220A75826C22}" dt="2023-07-24T16:54:42.576" v="15263" actId="478"/>
          <ac:spMkLst>
            <pc:docMk/>
            <pc:sldMk cId="4158318354" sldId="2146846405"/>
            <ac:spMk id="23" creationId="{2BCC28C0-026C-B498-DCFA-DD6BDE07E20F}"/>
          </ac:spMkLst>
        </pc:spChg>
        <pc:spChg chg="add del mod">
          <ac:chgData name="Md Fahim Hasan" userId="92968fce-d4dd-4b9e-8635-66a07c9f98a7" providerId="ADAL" clId="{3A6F4128-6482-4C75-8C7D-220A75826C22}" dt="2023-07-24T16:54:42.576" v="15263" actId="478"/>
          <ac:spMkLst>
            <pc:docMk/>
            <pc:sldMk cId="4158318354" sldId="2146846405"/>
            <ac:spMk id="24" creationId="{312FCD35-EB4D-9F79-45E3-6EB5C1300883}"/>
          </ac:spMkLst>
        </pc:spChg>
        <pc:spChg chg="add del mod">
          <ac:chgData name="Md Fahim Hasan" userId="92968fce-d4dd-4b9e-8635-66a07c9f98a7" providerId="ADAL" clId="{3A6F4128-6482-4C75-8C7D-220A75826C22}" dt="2023-07-24T16:54:42.576" v="15263" actId="478"/>
          <ac:spMkLst>
            <pc:docMk/>
            <pc:sldMk cId="4158318354" sldId="2146846405"/>
            <ac:spMk id="25" creationId="{6331F0C7-038D-0E2A-5858-D3D54C1648C5}"/>
          </ac:spMkLst>
        </pc:spChg>
        <pc:spChg chg="add mod">
          <ac:chgData name="Md Fahim Hasan" userId="92968fce-d4dd-4b9e-8635-66a07c9f98a7" providerId="ADAL" clId="{3A6F4128-6482-4C75-8C7D-220A75826C22}" dt="2023-07-25T20:39:45.037" v="20703" actId="1076"/>
          <ac:spMkLst>
            <pc:docMk/>
            <pc:sldMk cId="4158318354" sldId="2146846405"/>
            <ac:spMk id="28" creationId="{F8CA0F20-230F-4570-700C-FA2F2B52DCF4}"/>
          </ac:spMkLst>
        </pc:spChg>
        <pc:spChg chg="add mod">
          <ac:chgData name="Md Fahim Hasan" userId="92968fce-d4dd-4b9e-8635-66a07c9f98a7" providerId="ADAL" clId="{3A6F4128-6482-4C75-8C7D-220A75826C22}" dt="2023-07-24T16:56:24.341" v="15285" actId="14100"/>
          <ac:spMkLst>
            <pc:docMk/>
            <pc:sldMk cId="4158318354" sldId="2146846405"/>
            <ac:spMk id="29" creationId="{45C99936-BD6F-80BE-E422-684ACF5B6162}"/>
          </ac:spMkLst>
        </pc:spChg>
        <pc:spChg chg="add del mod">
          <ac:chgData name="Md Fahim Hasan" userId="92968fce-d4dd-4b9e-8635-66a07c9f98a7" providerId="ADAL" clId="{3A6F4128-6482-4C75-8C7D-220A75826C22}" dt="2023-07-25T20:45:11.673" v="20706" actId="478"/>
          <ac:spMkLst>
            <pc:docMk/>
            <pc:sldMk cId="4158318354" sldId="2146846405"/>
            <ac:spMk id="30" creationId="{BA379C2F-CF8D-FB90-EC65-613767A5CA53}"/>
          </ac:spMkLst>
        </pc:spChg>
        <pc:grpChg chg="add mod">
          <ac:chgData name="Md Fahim Hasan" userId="92968fce-d4dd-4b9e-8635-66a07c9f98a7" providerId="ADAL" clId="{3A6F4128-6482-4C75-8C7D-220A75826C22}" dt="2023-07-25T20:48:41.801" v="20746" actId="1076"/>
          <ac:grpSpMkLst>
            <pc:docMk/>
            <pc:sldMk cId="4158318354" sldId="2146846405"/>
            <ac:grpSpMk id="25" creationId="{B3357281-751E-41D7-8395-1B7BE658370E}"/>
          </ac:grpSpMkLst>
        </pc:grpChg>
        <pc:grpChg chg="add del mod">
          <ac:chgData name="Md Fahim Hasan" userId="92968fce-d4dd-4b9e-8635-66a07c9f98a7" providerId="ADAL" clId="{3A6F4128-6482-4C75-8C7D-220A75826C22}" dt="2023-07-25T21:29:42.445" v="21243" actId="165"/>
          <ac:grpSpMkLst>
            <pc:docMk/>
            <pc:sldMk cId="4158318354" sldId="2146846405"/>
            <ac:grpSpMk id="39" creationId="{2DB4E34E-07AC-24F1-4892-97EA6BA12FD0}"/>
          </ac:grpSpMkLst>
        </pc:grpChg>
        <pc:grpChg chg="add mod">
          <ac:chgData name="Md Fahim Hasan" userId="92968fce-d4dd-4b9e-8635-66a07c9f98a7" providerId="ADAL" clId="{3A6F4128-6482-4C75-8C7D-220A75826C22}" dt="2023-07-25T21:29:57.028" v="21245" actId="1076"/>
          <ac:grpSpMkLst>
            <pc:docMk/>
            <pc:sldMk cId="4158318354" sldId="2146846405"/>
            <ac:grpSpMk id="43" creationId="{1BA4ECC9-B540-3490-1ACD-778434F438B4}"/>
          </ac:grpSpMkLst>
        </pc:grpChg>
        <pc:graphicFrameChg chg="add del mod modGraphic">
          <ac:chgData name="Md Fahim Hasan" userId="92968fce-d4dd-4b9e-8635-66a07c9f98a7" providerId="ADAL" clId="{3A6F4128-6482-4C75-8C7D-220A75826C22}" dt="2023-07-24T16:54:42.576" v="15263" actId="478"/>
          <ac:graphicFrameMkLst>
            <pc:docMk/>
            <pc:sldMk cId="4158318354" sldId="2146846405"/>
            <ac:graphicFrameMk id="15" creationId="{6A286ADB-6BBA-AA5A-C269-39346A7DFDC9}"/>
          </ac:graphicFrameMkLst>
        </pc:graphicFrameChg>
        <pc:picChg chg="del">
          <ac:chgData name="Md Fahim Hasan" userId="92968fce-d4dd-4b9e-8635-66a07c9f98a7" providerId="ADAL" clId="{3A6F4128-6482-4C75-8C7D-220A75826C22}" dt="2023-07-20T15:20:01.454" v="7986" actId="478"/>
          <ac:picMkLst>
            <pc:docMk/>
            <pc:sldMk cId="4158318354" sldId="2146846405"/>
            <ac:picMk id="3" creationId="{16BBEA49-B7C7-2619-44DA-70CDEE7990C0}"/>
          </ac:picMkLst>
        </pc:picChg>
        <pc:picChg chg="del mod">
          <ac:chgData name="Md Fahim Hasan" userId="92968fce-d4dd-4b9e-8635-66a07c9f98a7" providerId="ADAL" clId="{3A6F4128-6482-4C75-8C7D-220A75826C22}" dt="2023-07-25T20:28:45.578" v="20564" actId="478"/>
          <ac:picMkLst>
            <pc:docMk/>
            <pc:sldMk cId="4158318354" sldId="2146846405"/>
            <ac:picMk id="7" creationId="{7933CCE4-2345-F731-C00F-AEC32D0BEB53}"/>
          </ac:picMkLst>
        </pc:picChg>
        <pc:picChg chg="del mod">
          <ac:chgData name="Md Fahim Hasan" userId="92968fce-d4dd-4b9e-8635-66a07c9f98a7" providerId="ADAL" clId="{3A6F4128-6482-4C75-8C7D-220A75826C22}" dt="2023-07-25T20:28:45.578" v="20564" actId="478"/>
          <ac:picMkLst>
            <pc:docMk/>
            <pc:sldMk cId="4158318354" sldId="2146846405"/>
            <ac:picMk id="10" creationId="{F75BF2A5-2790-A746-0313-ABF0A7988758}"/>
          </ac:picMkLst>
        </pc:picChg>
        <pc:picChg chg="del mod">
          <ac:chgData name="Md Fahim Hasan" userId="92968fce-d4dd-4b9e-8635-66a07c9f98a7" providerId="ADAL" clId="{3A6F4128-6482-4C75-8C7D-220A75826C22}" dt="2023-07-25T20:28:45.578" v="20564" actId="478"/>
          <ac:picMkLst>
            <pc:docMk/>
            <pc:sldMk cId="4158318354" sldId="2146846405"/>
            <ac:picMk id="13" creationId="{600A6E69-3336-B0AB-21E8-9B46B3B7FED5}"/>
          </ac:picMkLst>
        </pc:picChg>
        <pc:picChg chg="del mod">
          <ac:chgData name="Md Fahim Hasan" userId="92968fce-d4dd-4b9e-8635-66a07c9f98a7" providerId="ADAL" clId="{3A6F4128-6482-4C75-8C7D-220A75826C22}" dt="2023-07-25T20:28:45.578" v="20564" actId="478"/>
          <ac:picMkLst>
            <pc:docMk/>
            <pc:sldMk cId="4158318354" sldId="2146846405"/>
            <ac:picMk id="14" creationId="{C8CC61A1-CC55-4DD4-7937-04171FD999C6}"/>
          </ac:picMkLst>
        </pc:picChg>
        <pc:picChg chg="add mod modCrop">
          <ac:chgData name="Md Fahim Hasan" userId="92968fce-d4dd-4b9e-8635-66a07c9f98a7" providerId="ADAL" clId="{3A6F4128-6482-4C75-8C7D-220A75826C22}" dt="2023-07-25T20:39:20.997" v="20695" actId="164"/>
          <ac:picMkLst>
            <pc:docMk/>
            <pc:sldMk cId="4158318354" sldId="2146846405"/>
            <ac:picMk id="16" creationId="{D9A75E5E-D421-9F02-C653-2DCED4BEE310}"/>
          </ac:picMkLst>
        </pc:picChg>
        <pc:picChg chg="add mod modCrop">
          <ac:chgData name="Md Fahim Hasan" userId="92968fce-d4dd-4b9e-8635-66a07c9f98a7" providerId="ADAL" clId="{3A6F4128-6482-4C75-8C7D-220A75826C22}" dt="2023-07-25T20:39:20.997" v="20695" actId="164"/>
          <ac:picMkLst>
            <pc:docMk/>
            <pc:sldMk cId="4158318354" sldId="2146846405"/>
            <ac:picMk id="18" creationId="{2A4E8EF0-D5ED-9550-4830-1904FC63FFB2}"/>
          </ac:picMkLst>
        </pc:picChg>
        <pc:picChg chg="add mod modCrop">
          <ac:chgData name="Md Fahim Hasan" userId="92968fce-d4dd-4b9e-8635-66a07c9f98a7" providerId="ADAL" clId="{3A6F4128-6482-4C75-8C7D-220A75826C22}" dt="2023-07-25T20:39:20.997" v="20695" actId="164"/>
          <ac:picMkLst>
            <pc:docMk/>
            <pc:sldMk cId="4158318354" sldId="2146846405"/>
            <ac:picMk id="20" creationId="{E67D2468-7831-F453-2A52-5723971AE552}"/>
          </ac:picMkLst>
        </pc:picChg>
        <pc:picChg chg="add mod ord">
          <ac:chgData name="Md Fahim Hasan" userId="92968fce-d4dd-4b9e-8635-66a07c9f98a7" providerId="ADAL" clId="{3A6F4128-6482-4C75-8C7D-220A75826C22}" dt="2023-07-25T20:39:20.997" v="20695" actId="164"/>
          <ac:picMkLst>
            <pc:docMk/>
            <pc:sldMk cId="4158318354" sldId="2146846405"/>
            <ac:picMk id="21" creationId="{05E9C9B5-A17B-24B5-B9B6-1AD4D12EEC4A}"/>
          </ac:picMkLst>
        </pc:picChg>
        <pc:picChg chg="add mod">
          <ac:chgData name="Md Fahim Hasan" userId="92968fce-d4dd-4b9e-8635-66a07c9f98a7" providerId="ADAL" clId="{3A6F4128-6482-4C75-8C7D-220A75826C22}" dt="2023-07-25T20:40:58.816" v="20704" actId="1076"/>
          <ac:picMkLst>
            <pc:docMk/>
            <pc:sldMk cId="4158318354" sldId="2146846405"/>
            <ac:picMk id="23" creationId="{9C3B8CF1-ADC3-7D75-659A-265DE7E1097C}"/>
          </ac:picMkLst>
        </pc:picChg>
        <pc:picChg chg="add mod">
          <ac:chgData name="Md Fahim Hasan" userId="92968fce-d4dd-4b9e-8635-66a07c9f98a7" providerId="ADAL" clId="{3A6F4128-6482-4C75-8C7D-220A75826C22}" dt="2023-07-25T20:41:01.729" v="20705" actId="1076"/>
          <ac:picMkLst>
            <pc:docMk/>
            <pc:sldMk cId="4158318354" sldId="2146846405"/>
            <ac:picMk id="24" creationId="{A6334269-1A73-EE1F-6E20-86D8472D0F9F}"/>
          </ac:picMkLst>
        </pc:picChg>
        <pc:picChg chg="add mod topLvl modCrop">
          <ac:chgData name="Md Fahim Hasan" userId="92968fce-d4dd-4b9e-8635-66a07c9f98a7" providerId="ADAL" clId="{3A6F4128-6482-4C75-8C7D-220A75826C22}" dt="2023-07-25T21:29:48.709" v="21244" actId="164"/>
          <ac:picMkLst>
            <pc:docMk/>
            <pc:sldMk cId="4158318354" sldId="2146846405"/>
            <ac:picMk id="33" creationId="{F5909640-22FD-A1A9-8806-83E7356CFCD7}"/>
          </ac:picMkLst>
        </pc:picChg>
        <pc:picChg chg="add mod topLvl modCrop">
          <ac:chgData name="Md Fahim Hasan" userId="92968fce-d4dd-4b9e-8635-66a07c9f98a7" providerId="ADAL" clId="{3A6F4128-6482-4C75-8C7D-220A75826C22}" dt="2023-07-25T21:29:48.709" v="21244" actId="164"/>
          <ac:picMkLst>
            <pc:docMk/>
            <pc:sldMk cId="4158318354" sldId="2146846405"/>
            <ac:picMk id="35" creationId="{E1097BD4-836A-3864-2107-FE4601DD088A}"/>
          </ac:picMkLst>
        </pc:picChg>
        <pc:picChg chg="add mod topLvl modCrop">
          <ac:chgData name="Md Fahim Hasan" userId="92968fce-d4dd-4b9e-8635-66a07c9f98a7" providerId="ADAL" clId="{3A6F4128-6482-4C75-8C7D-220A75826C22}" dt="2023-07-25T21:29:48.709" v="21244" actId="164"/>
          <ac:picMkLst>
            <pc:docMk/>
            <pc:sldMk cId="4158318354" sldId="2146846405"/>
            <ac:picMk id="36" creationId="{D0500B77-455D-83F1-F712-86DD603FC36C}"/>
          </ac:picMkLst>
        </pc:picChg>
        <pc:picChg chg="add mod topLvl modCrop">
          <ac:chgData name="Md Fahim Hasan" userId="92968fce-d4dd-4b9e-8635-66a07c9f98a7" providerId="ADAL" clId="{3A6F4128-6482-4C75-8C7D-220A75826C22}" dt="2023-07-25T21:29:48.709" v="21244" actId="164"/>
          <ac:picMkLst>
            <pc:docMk/>
            <pc:sldMk cId="4158318354" sldId="2146846405"/>
            <ac:picMk id="37" creationId="{FB1BB6F7-93CE-B2AF-6D12-7D1F152F2BD6}"/>
          </ac:picMkLst>
        </pc:picChg>
        <pc:picChg chg="add mod topLvl modCrop">
          <ac:chgData name="Md Fahim Hasan" userId="92968fce-d4dd-4b9e-8635-66a07c9f98a7" providerId="ADAL" clId="{3A6F4128-6482-4C75-8C7D-220A75826C22}" dt="2023-07-25T21:29:48.709" v="21244" actId="164"/>
          <ac:picMkLst>
            <pc:docMk/>
            <pc:sldMk cId="4158318354" sldId="2146846405"/>
            <ac:picMk id="38" creationId="{6F5F416A-4624-C63C-1753-648878CFEEA0}"/>
          </ac:picMkLst>
        </pc:picChg>
        <pc:picChg chg="add mod">
          <ac:chgData name="Md Fahim Hasan" userId="92968fce-d4dd-4b9e-8635-66a07c9f98a7" providerId="ADAL" clId="{3A6F4128-6482-4C75-8C7D-220A75826C22}" dt="2023-07-25T21:29:48.709" v="21244" actId="164"/>
          <ac:picMkLst>
            <pc:docMk/>
            <pc:sldMk cId="4158318354" sldId="2146846405"/>
            <ac:picMk id="42" creationId="{977C24D3-A350-3A2E-C184-4C3866D66E77}"/>
          </ac:picMkLst>
        </pc:picChg>
        <pc:cxnChg chg="add del mod">
          <ac:chgData name="Md Fahim Hasan" userId="92968fce-d4dd-4b9e-8635-66a07c9f98a7" providerId="ADAL" clId="{3A6F4128-6482-4C75-8C7D-220A75826C22}" dt="2023-07-24T16:55:15.099" v="15270" actId="478"/>
          <ac:cxnSpMkLst>
            <pc:docMk/>
            <pc:sldMk cId="4158318354" sldId="2146846405"/>
            <ac:cxnSpMk id="18" creationId="{97317095-DFFB-B519-695F-796D9E22B5CB}"/>
          </ac:cxnSpMkLst>
        </pc:cxnChg>
        <pc:cxnChg chg="add del mod">
          <ac:chgData name="Md Fahim Hasan" userId="92968fce-d4dd-4b9e-8635-66a07c9f98a7" providerId="ADAL" clId="{3A6F4128-6482-4C75-8C7D-220A75826C22}" dt="2023-07-24T16:55:15.099" v="15270" actId="478"/>
          <ac:cxnSpMkLst>
            <pc:docMk/>
            <pc:sldMk cId="4158318354" sldId="2146846405"/>
            <ac:cxnSpMk id="19" creationId="{83CC976F-2009-0365-2C60-4836E43663A2}"/>
          </ac:cxnSpMkLst>
        </pc:cxnChg>
        <pc:cxnChg chg="add del mod">
          <ac:chgData name="Md Fahim Hasan" userId="92968fce-d4dd-4b9e-8635-66a07c9f98a7" providerId="ADAL" clId="{3A6F4128-6482-4C75-8C7D-220A75826C22}" dt="2023-07-24T16:55:15.099" v="15270" actId="478"/>
          <ac:cxnSpMkLst>
            <pc:docMk/>
            <pc:sldMk cId="4158318354" sldId="2146846405"/>
            <ac:cxnSpMk id="20" creationId="{7C50FA38-C56A-B0FD-0BDE-B9E57EC2EF6C}"/>
          </ac:cxnSpMkLst>
        </pc:cxnChg>
        <pc:cxnChg chg="add del mod">
          <ac:chgData name="Md Fahim Hasan" userId="92968fce-d4dd-4b9e-8635-66a07c9f98a7" providerId="ADAL" clId="{3A6F4128-6482-4C75-8C7D-220A75826C22}" dt="2023-07-24T16:55:15.099" v="15270" actId="478"/>
          <ac:cxnSpMkLst>
            <pc:docMk/>
            <pc:sldMk cId="4158318354" sldId="2146846405"/>
            <ac:cxnSpMk id="21" creationId="{B581DA60-3BFC-5679-0F90-A6928FB0734C}"/>
          </ac:cxnSpMkLst>
        </pc:cxnChg>
        <pc:cxnChg chg="add mod">
          <ac:chgData name="Md Fahim Hasan" userId="92968fce-d4dd-4b9e-8635-66a07c9f98a7" providerId="ADAL" clId="{3A6F4128-6482-4C75-8C7D-220A75826C22}" dt="2023-07-25T20:39:29.426" v="20698" actId="14100"/>
          <ac:cxnSpMkLst>
            <pc:docMk/>
            <pc:sldMk cId="4158318354" sldId="2146846405"/>
            <ac:cxnSpMk id="27" creationId="{9DF090FC-BE88-4448-BF11-C6BAAEE37B76}"/>
          </ac:cxnSpMkLst>
        </pc:cxnChg>
        <pc:cxnChg chg="add del mod">
          <ac:chgData name="Md Fahim Hasan" userId="92968fce-d4dd-4b9e-8635-66a07c9f98a7" providerId="ADAL" clId="{3A6F4128-6482-4C75-8C7D-220A75826C22}" dt="2023-07-20T15:42:02.085" v="8339" actId="478"/>
          <ac:cxnSpMkLst>
            <pc:docMk/>
            <pc:sldMk cId="4158318354" sldId="2146846405"/>
            <ac:cxnSpMk id="27" creationId="{F4B12A6A-7020-0002-707E-3A06F6D34B4B}"/>
          </ac:cxnSpMkLst>
        </pc:cxnChg>
        <pc:cxnChg chg="add del mod">
          <ac:chgData name="Md Fahim Hasan" userId="92968fce-d4dd-4b9e-8635-66a07c9f98a7" providerId="ADAL" clId="{3A6F4128-6482-4C75-8C7D-220A75826C22}" dt="2023-07-20T15:42:04.652" v="8341" actId="478"/>
          <ac:cxnSpMkLst>
            <pc:docMk/>
            <pc:sldMk cId="4158318354" sldId="2146846405"/>
            <ac:cxnSpMk id="29" creationId="{21A5FF93-118C-8900-FF09-15A52F338EA1}"/>
          </ac:cxnSpMkLst>
        </pc:cxnChg>
        <pc:cxnChg chg="add mod">
          <ac:chgData name="Md Fahim Hasan" userId="92968fce-d4dd-4b9e-8635-66a07c9f98a7" providerId="ADAL" clId="{3A6F4128-6482-4C75-8C7D-220A75826C22}" dt="2023-07-25T20:48:52.577" v="20748" actId="14100"/>
          <ac:cxnSpMkLst>
            <pc:docMk/>
            <pc:sldMk cId="4158318354" sldId="2146846405"/>
            <ac:cxnSpMk id="32" creationId="{4CCCEBD3-DE28-77A4-5107-F7A7832F5360}"/>
          </ac:cxnSpMkLst>
        </pc:cxnChg>
        <pc:cxnChg chg="add del mod">
          <ac:chgData name="Md Fahim Hasan" userId="92968fce-d4dd-4b9e-8635-66a07c9f98a7" providerId="ADAL" clId="{3A6F4128-6482-4C75-8C7D-220A75826C22}" dt="2023-07-20T15:42:05.597" v="8342" actId="478"/>
          <ac:cxnSpMkLst>
            <pc:docMk/>
            <pc:sldMk cId="4158318354" sldId="2146846405"/>
            <ac:cxnSpMk id="33" creationId="{569545A2-DBA5-BA0A-7E7F-393C0B58F2AC}"/>
          </ac:cxnSpMkLst>
        </pc:cxnChg>
        <pc:cxnChg chg="add mod">
          <ac:chgData name="Md Fahim Hasan" userId="92968fce-d4dd-4b9e-8635-66a07c9f98a7" providerId="ADAL" clId="{3A6F4128-6482-4C75-8C7D-220A75826C22}" dt="2023-07-25T20:48:56.371" v="20749" actId="14100"/>
          <ac:cxnSpMkLst>
            <pc:docMk/>
            <pc:sldMk cId="4158318354" sldId="2146846405"/>
            <ac:cxnSpMk id="34" creationId="{08419CF4-CBAD-281D-882F-893CEFAF773B}"/>
          </ac:cxnSpMkLst>
        </pc:cxnChg>
        <pc:cxnChg chg="add del mod">
          <ac:chgData name="Md Fahim Hasan" userId="92968fce-d4dd-4b9e-8635-66a07c9f98a7" providerId="ADAL" clId="{3A6F4128-6482-4C75-8C7D-220A75826C22}" dt="2023-07-20T15:42:03.628" v="8340" actId="478"/>
          <ac:cxnSpMkLst>
            <pc:docMk/>
            <pc:sldMk cId="4158318354" sldId="2146846405"/>
            <ac:cxnSpMk id="37" creationId="{241EC955-211B-1ADF-5B40-17CE8B6CA42E}"/>
          </ac:cxnSpMkLst>
        </pc:cxnChg>
        <pc:cxnChg chg="add del mod">
          <ac:chgData name="Md Fahim Hasan" userId="92968fce-d4dd-4b9e-8635-66a07c9f98a7" providerId="ADAL" clId="{3A6F4128-6482-4C75-8C7D-220A75826C22}" dt="2023-07-24T16:55:24.185" v="15271" actId="478"/>
          <ac:cxnSpMkLst>
            <pc:docMk/>
            <pc:sldMk cId="4158318354" sldId="2146846405"/>
            <ac:cxnSpMk id="39" creationId="{02AF00EA-2876-8D8A-EBDA-74C62DE65DD0}"/>
          </ac:cxnSpMkLst>
        </pc:cxnChg>
        <pc:cxnChg chg="add del mod">
          <ac:chgData name="Md Fahim Hasan" userId="92968fce-d4dd-4b9e-8635-66a07c9f98a7" providerId="ADAL" clId="{3A6F4128-6482-4C75-8C7D-220A75826C22}" dt="2023-07-24T16:55:25.160" v="15272" actId="478"/>
          <ac:cxnSpMkLst>
            <pc:docMk/>
            <pc:sldMk cId="4158318354" sldId="2146846405"/>
            <ac:cxnSpMk id="40" creationId="{B38667B8-2749-93A0-FCA9-9063F8CF7E76}"/>
          </ac:cxnSpMkLst>
        </pc:cxnChg>
        <pc:cxnChg chg="add del mod">
          <ac:chgData name="Md Fahim Hasan" userId="92968fce-d4dd-4b9e-8635-66a07c9f98a7" providerId="ADAL" clId="{3A6F4128-6482-4C75-8C7D-220A75826C22}" dt="2023-07-24T16:55:25.854" v="15273" actId="478"/>
          <ac:cxnSpMkLst>
            <pc:docMk/>
            <pc:sldMk cId="4158318354" sldId="2146846405"/>
            <ac:cxnSpMk id="45" creationId="{A259E9D6-EB57-7CE8-3E09-F814D6FDA759}"/>
          </ac:cxnSpMkLst>
        </pc:cxnChg>
        <pc:cxnChg chg="add del mod">
          <ac:chgData name="Md Fahim Hasan" userId="92968fce-d4dd-4b9e-8635-66a07c9f98a7" providerId="ADAL" clId="{3A6F4128-6482-4C75-8C7D-220A75826C22}" dt="2023-07-24T16:55:27.031" v="15274" actId="478"/>
          <ac:cxnSpMkLst>
            <pc:docMk/>
            <pc:sldMk cId="4158318354" sldId="2146846405"/>
            <ac:cxnSpMk id="49" creationId="{25CC8F31-8381-3139-2F65-E44EA605221F}"/>
          </ac:cxnSpMkLst>
        </pc:cxnChg>
        <pc:cxnChg chg="add del mod">
          <ac:chgData name="Md Fahim Hasan" userId="92968fce-d4dd-4b9e-8635-66a07c9f98a7" providerId="ADAL" clId="{3A6F4128-6482-4C75-8C7D-220A75826C22}" dt="2023-07-24T16:54:42.576" v="15263" actId="478"/>
          <ac:cxnSpMkLst>
            <pc:docMk/>
            <pc:sldMk cId="4158318354" sldId="2146846405"/>
            <ac:cxnSpMk id="58" creationId="{A179DABB-F0E5-5084-5145-7B33E5710F89}"/>
          </ac:cxnSpMkLst>
        </pc:cxnChg>
      </pc:sldChg>
      <pc:sldChg chg="addSp delSp modSp add del mod delAnim modAnim">
        <pc:chgData name="Md Fahim Hasan" userId="92968fce-d4dd-4b9e-8635-66a07c9f98a7" providerId="ADAL" clId="{3A6F4128-6482-4C75-8C7D-220A75826C22}" dt="2023-07-24T16:59:06.689" v="15315" actId="47"/>
        <pc:sldMkLst>
          <pc:docMk/>
          <pc:sldMk cId="1118403182" sldId="2146846406"/>
        </pc:sldMkLst>
        <pc:spChg chg="add mod">
          <ac:chgData name="Md Fahim Hasan" userId="92968fce-d4dd-4b9e-8635-66a07c9f98a7" providerId="ADAL" clId="{3A6F4128-6482-4C75-8C7D-220A75826C22}" dt="2023-07-20T15:48:09.742" v="8457" actId="207"/>
          <ac:spMkLst>
            <pc:docMk/>
            <pc:sldMk cId="1118403182" sldId="2146846406"/>
            <ac:spMk id="7" creationId="{7F1CBD92-5668-8534-F13F-9951672B7FA1}"/>
          </ac:spMkLst>
        </pc:spChg>
        <pc:spChg chg="mod">
          <ac:chgData name="Md Fahim Hasan" userId="92968fce-d4dd-4b9e-8635-66a07c9f98a7" providerId="ADAL" clId="{3A6F4128-6482-4C75-8C7D-220A75826C22}" dt="2023-07-20T15:46:26.892" v="8396" actId="1076"/>
          <ac:spMkLst>
            <pc:docMk/>
            <pc:sldMk cId="1118403182" sldId="2146846406"/>
            <ac:spMk id="8" creationId="{130E9D39-7572-D5EE-8C78-7FDFC7B77798}"/>
          </ac:spMkLst>
        </pc:spChg>
        <pc:spChg chg="mod">
          <ac:chgData name="Md Fahim Hasan" userId="92968fce-d4dd-4b9e-8635-66a07c9f98a7" providerId="ADAL" clId="{3A6F4128-6482-4C75-8C7D-220A75826C22}" dt="2023-07-21T13:57:05.854" v="10040" actId="20577"/>
          <ac:spMkLst>
            <pc:docMk/>
            <pc:sldMk cId="1118403182" sldId="2146846406"/>
            <ac:spMk id="9" creationId="{DCE765C9-F866-A10C-05BC-B0F5CF7D4FA9}"/>
          </ac:spMkLst>
        </pc:spChg>
        <pc:spChg chg="mod">
          <ac:chgData name="Md Fahim Hasan" userId="92968fce-d4dd-4b9e-8635-66a07c9f98a7" providerId="ADAL" clId="{3A6F4128-6482-4C75-8C7D-220A75826C22}" dt="2023-07-20T15:46:31.592" v="8397" actId="1076"/>
          <ac:spMkLst>
            <pc:docMk/>
            <pc:sldMk cId="1118403182" sldId="2146846406"/>
            <ac:spMk id="11" creationId="{DF0F00DF-0893-8866-FE70-C4DEA8AA9BAF}"/>
          </ac:spMkLst>
        </pc:spChg>
        <pc:spChg chg="mod">
          <ac:chgData name="Md Fahim Hasan" userId="92968fce-d4dd-4b9e-8635-66a07c9f98a7" providerId="ADAL" clId="{3A6F4128-6482-4C75-8C7D-220A75826C22}" dt="2023-07-20T15:46:21.457" v="8395" actId="20577"/>
          <ac:spMkLst>
            <pc:docMk/>
            <pc:sldMk cId="1118403182" sldId="2146846406"/>
            <ac:spMk id="12" creationId="{3D9AEB3F-97A4-58D7-EBA2-A315915EA8D1}"/>
          </ac:spMkLst>
        </pc:spChg>
        <pc:spChg chg="mod">
          <ac:chgData name="Md Fahim Hasan" userId="92968fce-d4dd-4b9e-8635-66a07c9f98a7" providerId="ADAL" clId="{3A6F4128-6482-4C75-8C7D-220A75826C22}" dt="2023-07-20T15:51:46.319" v="8473" actId="20577"/>
          <ac:spMkLst>
            <pc:docMk/>
            <pc:sldMk cId="1118403182" sldId="2146846406"/>
            <ac:spMk id="14" creationId="{4199DBE8-63F3-4383-0991-511B562001EC}"/>
          </ac:spMkLst>
        </pc:spChg>
        <pc:spChg chg="mod">
          <ac:chgData name="Md Fahim Hasan" userId="92968fce-d4dd-4b9e-8635-66a07c9f98a7" providerId="ADAL" clId="{3A6F4128-6482-4C75-8C7D-220A75826C22}" dt="2023-07-20T15:52:41.683" v="8482" actId="20577"/>
          <ac:spMkLst>
            <pc:docMk/>
            <pc:sldMk cId="1118403182" sldId="2146846406"/>
            <ac:spMk id="16" creationId="{AF6B1778-46F0-7230-0D81-AE00CA5D1F0B}"/>
          </ac:spMkLst>
        </pc:spChg>
        <pc:spChg chg="del">
          <ac:chgData name="Md Fahim Hasan" userId="92968fce-d4dd-4b9e-8635-66a07c9f98a7" providerId="ADAL" clId="{3A6F4128-6482-4C75-8C7D-220A75826C22}" dt="2023-07-20T15:52:46.558" v="8483" actId="478"/>
          <ac:spMkLst>
            <pc:docMk/>
            <pc:sldMk cId="1118403182" sldId="2146846406"/>
            <ac:spMk id="24" creationId="{312FCD35-EB4D-9F79-45E3-6EB5C1300883}"/>
          </ac:spMkLst>
        </pc:spChg>
        <pc:spChg chg="del">
          <ac:chgData name="Md Fahim Hasan" userId="92968fce-d4dd-4b9e-8635-66a07c9f98a7" providerId="ADAL" clId="{3A6F4128-6482-4C75-8C7D-220A75826C22}" dt="2023-07-20T15:52:50.196" v="8485" actId="478"/>
          <ac:spMkLst>
            <pc:docMk/>
            <pc:sldMk cId="1118403182" sldId="2146846406"/>
            <ac:spMk id="25" creationId="{6331F0C7-038D-0E2A-5858-D3D54C1648C5}"/>
          </ac:spMkLst>
        </pc:spChg>
        <pc:graphicFrameChg chg="del">
          <ac:chgData name="Md Fahim Hasan" userId="92968fce-d4dd-4b9e-8635-66a07c9f98a7" providerId="ADAL" clId="{3A6F4128-6482-4C75-8C7D-220A75826C22}" dt="2023-07-20T15:52:46.558" v="8483" actId="478"/>
          <ac:graphicFrameMkLst>
            <pc:docMk/>
            <pc:sldMk cId="1118403182" sldId="2146846406"/>
            <ac:graphicFrameMk id="15" creationId="{6A286ADB-6BBA-AA5A-C269-39346A7DFDC9}"/>
          </ac:graphicFrameMkLst>
        </pc:graphicFrameChg>
        <pc:cxnChg chg="add mod">
          <ac:chgData name="Md Fahim Hasan" userId="92968fce-d4dd-4b9e-8635-66a07c9f98a7" providerId="ADAL" clId="{3A6F4128-6482-4C75-8C7D-220A75826C22}" dt="2023-07-20T15:48:14.012" v="8458" actId="208"/>
          <ac:cxnSpMkLst>
            <pc:docMk/>
            <pc:sldMk cId="1118403182" sldId="2146846406"/>
            <ac:cxnSpMk id="13" creationId="{09B5032D-5947-FCB0-4493-7A867A3151F8}"/>
          </ac:cxnSpMkLst>
        </pc:cxnChg>
        <pc:cxnChg chg="mod">
          <ac:chgData name="Md Fahim Hasan" userId="92968fce-d4dd-4b9e-8635-66a07c9f98a7" providerId="ADAL" clId="{3A6F4128-6482-4C75-8C7D-220A75826C22}" dt="2023-07-20T15:46:26.892" v="8396" actId="1076"/>
          <ac:cxnSpMkLst>
            <pc:docMk/>
            <pc:sldMk cId="1118403182" sldId="2146846406"/>
            <ac:cxnSpMk id="45" creationId="{A259E9D6-EB57-7CE8-3E09-F814D6FDA759}"/>
          </ac:cxnSpMkLst>
        </pc:cxnChg>
        <pc:cxnChg chg="mod">
          <ac:chgData name="Md Fahim Hasan" userId="92968fce-d4dd-4b9e-8635-66a07c9f98a7" providerId="ADAL" clId="{3A6F4128-6482-4C75-8C7D-220A75826C22}" dt="2023-07-20T15:47:07.238" v="8450" actId="14100"/>
          <ac:cxnSpMkLst>
            <pc:docMk/>
            <pc:sldMk cId="1118403182" sldId="2146846406"/>
            <ac:cxnSpMk id="49" creationId="{25CC8F31-8381-3139-2F65-E44EA605221F}"/>
          </ac:cxnSpMkLst>
        </pc:cxnChg>
        <pc:cxnChg chg="del mod">
          <ac:chgData name="Md Fahim Hasan" userId="92968fce-d4dd-4b9e-8635-66a07c9f98a7" providerId="ADAL" clId="{3A6F4128-6482-4C75-8C7D-220A75826C22}" dt="2023-07-20T15:52:47.940" v="8484" actId="478"/>
          <ac:cxnSpMkLst>
            <pc:docMk/>
            <pc:sldMk cId="1118403182" sldId="2146846406"/>
            <ac:cxnSpMk id="58" creationId="{A179DABB-F0E5-5084-5145-7B33E5710F89}"/>
          </ac:cxnSpMkLst>
        </pc:cxnChg>
      </pc:sldChg>
      <pc:sldChg chg="addSp delSp modSp add mod delAnim modNotesTx">
        <pc:chgData name="Md Fahim Hasan" userId="92968fce-d4dd-4b9e-8635-66a07c9f98a7" providerId="ADAL" clId="{3A6F4128-6482-4C75-8C7D-220A75826C22}" dt="2023-07-27T17:43:44.139" v="37452" actId="20577"/>
        <pc:sldMkLst>
          <pc:docMk/>
          <pc:sldMk cId="3999969760" sldId="2146846407"/>
        </pc:sldMkLst>
        <pc:spChg chg="mod">
          <ac:chgData name="Md Fahim Hasan" userId="92968fce-d4dd-4b9e-8635-66a07c9f98a7" providerId="ADAL" clId="{3A6F4128-6482-4C75-8C7D-220A75826C22}" dt="2023-07-27T15:51:58.279" v="35706"/>
          <ac:spMkLst>
            <pc:docMk/>
            <pc:sldMk cId="3999969760" sldId="2146846407"/>
            <ac:spMk id="2" creationId="{3DAF1FF6-83BD-CD3F-ACA9-3847A49D49C3}"/>
          </ac:spMkLst>
        </pc:spChg>
        <pc:spChg chg="del">
          <ac:chgData name="Md Fahim Hasan" userId="92968fce-d4dd-4b9e-8635-66a07c9f98a7" providerId="ADAL" clId="{3A6F4128-6482-4C75-8C7D-220A75826C22}" dt="2023-07-20T15:53:28.106" v="8527" actId="478"/>
          <ac:spMkLst>
            <pc:docMk/>
            <pc:sldMk cId="3999969760" sldId="2146846407"/>
            <ac:spMk id="2" creationId="{5CA4440B-028E-4F88-3186-F24679B2C4C9}"/>
          </ac:spMkLst>
        </pc:spChg>
        <pc:spChg chg="add mod">
          <ac:chgData name="Md Fahim Hasan" userId="92968fce-d4dd-4b9e-8635-66a07c9f98a7" providerId="ADAL" clId="{3A6F4128-6482-4C75-8C7D-220A75826C22}" dt="2023-07-27T00:40:19.633" v="34063" actId="113"/>
          <ac:spMkLst>
            <pc:docMk/>
            <pc:sldMk cId="3999969760" sldId="2146846407"/>
            <ac:spMk id="3" creationId="{A9B6433A-3584-BD51-F3B5-89DCB9E2F96D}"/>
          </ac:spMkLst>
        </pc:spChg>
        <pc:spChg chg="del">
          <ac:chgData name="Md Fahim Hasan" userId="92968fce-d4dd-4b9e-8635-66a07c9f98a7" providerId="ADAL" clId="{3A6F4128-6482-4C75-8C7D-220A75826C22}" dt="2023-07-20T15:53:28.106" v="8527" actId="478"/>
          <ac:spMkLst>
            <pc:docMk/>
            <pc:sldMk cId="3999969760" sldId="2146846407"/>
            <ac:spMk id="4" creationId="{9BBBEEA8-01ED-B542-9A63-9A69DC65E6BA}"/>
          </ac:spMkLst>
        </pc:spChg>
        <pc:spChg chg="add mod">
          <ac:chgData name="Md Fahim Hasan" userId="92968fce-d4dd-4b9e-8635-66a07c9f98a7" providerId="ADAL" clId="{3A6F4128-6482-4C75-8C7D-220A75826C22}" dt="2023-07-27T00:44:51.336" v="34477" actId="1037"/>
          <ac:spMkLst>
            <pc:docMk/>
            <pc:sldMk cId="3999969760" sldId="2146846407"/>
            <ac:spMk id="5" creationId="{54743D17-A5AC-78AC-4269-DC8CCBE26C14}"/>
          </ac:spMkLst>
        </pc:spChg>
        <pc:spChg chg="del">
          <ac:chgData name="Md Fahim Hasan" userId="92968fce-d4dd-4b9e-8635-66a07c9f98a7" providerId="ADAL" clId="{3A6F4128-6482-4C75-8C7D-220A75826C22}" dt="2023-07-20T15:53:29.940" v="8528" actId="478"/>
          <ac:spMkLst>
            <pc:docMk/>
            <pc:sldMk cId="3999969760" sldId="2146846407"/>
            <ac:spMk id="5" creationId="{FBF989BE-2FC9-C908-243D-DA2D7ECAB17C}"/>
          </ac:spMkLst>
        </pc:spChg>
        <pc:spChg chg="add mod">
          <ac:chgData name="Md Fahim Hasan" userId="92968fce-d4dd-4b9e-8635-66a07c9f98a7" providerId="ADAL" clId="{3A6F4128-6482-4C75-8C7D-220A75826C22}" dt="2023-07-27T00:44:51.336" v="34477" actId="1037"/>
          <ac:spMkLst>
            <pc:docMk/>
            <pc:sldMk cId="3999969760" sldId="2146846407"/>
            <ac:spMk id="6" creationId="{26A6E82C-D720-1EE2-53BC-CEC07024E9CA}"/>
          </ac:spMkLst>
        </pc:spChg>
        <pc:spChg chg="del">
          <ac:chgData name="Md Fahim Hasan" userId="92968fce-d4dd-4b9e-8635-66a07c9f98a7" providerId="ADAL" clId="{3A6F4128-6482-4C75-8C7D-220A75826C22}" dt="2023-07-20T15:53:28.106" v="8527" actId="478"/>
          <ac:spMkLst>
            <pc:docMk/>
            <pc:sldMk cId="3999969760" sldId="2146846407"/>
            <ac:spMk id="6" creationId="{E9090D9C-F1FA-CA30-D8D9-B93C832FDBD4}"/>
          </ac:spMkLst>
        </pc:spChg>
        <pc:spChg chg="add mod">
          <ac:chgData name="Md Fahim Hasan" userId="92968fce-d4dd-4b9e-8635-66a07c9f98a7" providerId="ADAL" clId="{3A6F4128-6482-4C75-8C7D-220A75826C22}" dt="2023-07-27T01:00:58.094" v="34726" actId="1076"/>
          <ac:spMkLst>
            <pc:docMk/>
            <pc:sldMk cId="3999969760" sldId="2146846407"/>
            <ac:spMk id="7" creationId="{75F947B2-123B-E347-59AC-F0AB539999A7}"/>
          </ac:spMkLst>
        </pc:spChg>
        <pc:spChg chg="del">
          <ac:chgData name="Md Fahim Hasan" userId="92968fce-d4dd-4b9e-8635-66a07c9f98a7" providerId="ADAL" clId="{3A6F4128-6482-4C75-8C7D-220A75826C22}" dt="2023-07-20T15:53:28.106" v="8527" actId="478"/>
          <ac:spMkLst>
            <pc:docMk/>
            <pc:sldMk cId="3999969760" sldId="2146846407"/>
            <ac:spMk id="7" creationId="{7F1CBD92-5668-8534-F13F-9951672B7FA1}"/>
          </ac:spMkLst>
        </pc:spChg>
        <pc:spChg chg="del">
          <ac:chgData name="Md Fahim Hasan" userId="92968fce-d4dd-4b9e-8635-66a07c9f98a7" providerId="ADAL" clId="{3A6F4128-6482-4C75-8C7D-220A75826C22}" dt="2023-07-20T15:53:28.106" v="8527" actId="478"/>
          <ac:spMkLst>
            <pc:docMk/>
            <pc:sldMk cId="3999969760" sldId="2146846407"/>
            <ac:spMk id="8" creationId="{130E9D39-7572-D5EE-8C78-7FDFC7B77798}"/>
          </ac:spMkLst>
        </pc:spChg>
        <pc:spChg chg="mod">
          <ac:chgData name="Md Fahim Hasan" userId="92968fce-d4dd-4b9e-8635-66a07c9f98a7" providerId="ADAL" clId="{3A6F4128-6482-4C75-8C7D-220A75826C22}" dt="2023-07-27T15:18:38.635" v="35634" actId="6549"/>
          <ac:spMkLst>
            <pc:docMk/>
            <pc:sldMk cId="3999969760" sldId="2146846407"/>
            <ac:spMk id="9" creationId="{DCE765C9-F866-A10C-05BC-B0F5CF7D4FA9}"/>
          </ac:spMkLst>
        </pc:spChg>
        <pc:spChg chg="del">
          <ac:chgData name="Md Fahim Hasan" userId="92968fce-d4dd-4b9e-8635-66a07c9f98a7" providerId="ADAL" clId="{3A6F4128-6482-4C75-8C7D-220A75826C22}" dt="2023-07-20T15:53:28.106" v="8527" actId="478"/>
          <ac:spMkLst>
            <pc:docMk/>
            <pc:sldMk cId="3999969760" sldId="2146846407"/>
            <ac:spMk id="11" creationId="{DF0F00DF-0893-8866-FE70-C4DEA8AA9BAF}"/>
          </ac:spMkLst>
        </pc:spChg>
        <pc:spChg chg="del">
          <ac:chgData name="Md Fahim Hasan" userId="92968fce-d4dd-4b9e-8635-66a07c9f98a7" providerId="ADAL" clId="{3A6F4128-6482-4C75-8C7D-220A75826C22}" dt="2023-07-20T15:53:28.106" v="8527" actId="478"/>
          <ac:spMkLst>
            <pc:docMk/>
            <pc:sldMk cId="3999969760" sldId="2146846407"/>
            <ac:spMk id="12" creationId="{3D9AEB3F-97A4-58D7-EBA2-A315915EA8D1}"/>
          </ac:spMkLst>
        </pc:spChg>
        <pc:spChg chg="del">
          <ac:chgData name="Md Fahim Hasan" userId="92968fce-d4dd-4b9e-8635-66a07c9f98a7" providerId="ADAL" clId="{3A6F4128-6482-4C75-8C7D-220A75826C22}" dt="2023-07-20T15:53:28.106" v="8527" actId="478"/>
          <ac:spMkLst>
            <pc:docMk/>
            <pc:sldMk cId="3999969760" sldId="2146846407"/>
            <ac:spMk id="14" creationId="{4199DBE8-63F3-4383-0991-511B562001EC}"/>
          </ac:spMkLst>
        </pc:spChg>
        <pc:spChg chg="del">
          <ac:chgData name="Md Fahim Hasan" userId="92968fce-d4dd-4b9e-8635-66a07c9f98a7" providerId="ADAL" clId="{3A6F4128-6482-4C75-8C7D-220A75826C22}" dt="2023-07-20T15:53:28.106" v="8527" actId="478"/>
          <ac:spMkLst>
            <pc:docMk/>
            <pc:sldMk cId="3999969760" sldId="2146846407"/>
            <ac:spMk id="16" creationId="{AF6B1778-46F0-7230-0D81-AE00CA5D1F0B}"/>
          </ac:spMkLst>
        </pc:spChg>
        <pc:spChg chg="del">
          <ac:chgData name="Md Fahim Hasan" userId="92968fce-d4dd-4b9e-8635-66a07c9f98a7" providerId="ADAL" clId="{3A6F4128-6482-4C75-8C7D-220A75826C22}" dt="2023-07-20T15:53:28.106" v="8527" actId="478"/>
          <ac:spMkLst>
            <pc:docMk/>
            <pc:sldMk cId="3999969760" sldId="2146846407"/>
            <ac:spMk id="17" creationId="{31191FEE-0621-A450-9501-BCDCA0F9CB2A}"/>
          </ac:spMkLst>
        </pc:spChg>
        <pc:spChg chg="del">
          <ac:chgData name="Md Fahim Hasan" userId="92968fce-d4dd-4b9e-8635-66a07c9f98a7" providerId="ADAL" clId="{3A6F4128-6482-4C75-8C7D-220A75826C22}" dt="2023-07-20T15:53:28.106" v="8527" actId="478"/>
          <ac:spMkLst>
            <pc:docMk/>
            <pc:sldMk cId="3999969760" sldId="2146846407"/>
            <ac:spMk id="23" creationId="{2BCC28C0-026C-B498-DCFA-DD6BDE07E20F}"/>
          </ac:spMkLst>
        </pc:spChg>
        <pc:picChg chg="mod">
          <ac:chgData name="Md Fahim Hasan" userId="92968fce-d4dd-4b9e-8635-66a07c9f98a7" providerId="ADAL" clId="{3A6F4128-6482-4C75-8C7D-220A75826C22}" dt="2023-07-26T23:13:34.807" v="30922" actId="1076"/>
          <ac:picMkLst>
            <pc:docMk/>
            <pc:sldMk cId="3999969760" sldId="2146846407"/>
            <ac:picMk id="4" creationId="{7CF91639-33AC-BDDD-0224-6D11C4B0C940}"/>
          </ac:picMkLst>
        </pc:picChg>
        <pc:picChg chg="mod">
          <ac:chgData name="Md Fahim Hasan" userId="92968fce-d4dd-4b9e-8635-66a07c9f98a7" providerId="ADAL" clId="{3A6F4128-6482-4C75-8C7D-220A75826C22}" dt="2023-07-27T00:44:51.336" v="34477" actId="1037"/>
          <ac:picMkLst>
            <pc:docMk/>
            <pc:sldMk cId="3999969760" sldId="2146846407"/>
            <ac:picMk id="1026" creationId="{EFAF2E77-8CEC-C19A-2F55-F19157E9D271}"/>
          </ac:picMkLst>
        </pc:picChg>
        <pc:picChg chg="mod">
          <ac:chgData name="Md Fahim Hasan" userId="92968fce-d4dd-4b9e-8635-66a07c9f98a7" providerId="ADAL" clId="{3A6F4128-6482-4C75-8C7D-220A75826C22}" dt="2023-07-27T00:44:51.336" v="34477" actId="1037"/>
          <ac:picMkLst>
            <pc:docMk/>
            <pc:sldMk cId="3999969760" sldId="2146846407"/>
            <ac:picMk id="1028" creationId="{FA4DE5DB-293A-BB1F-C2A6-80419B433D04}"/>
          </ac:picMkLst>
        </pc:picChg>
        <pc:cxnChg chg="del mod">
          <ac:chgData name="Md Fahim Hasan" userId="92968fce-d4dd-4b9e-8635-66a07c9f98a7" providerId="ADAL" clId="{3A6F4128-6482-4C75-8C7D-220A75826C22}" dt="2023-07-20T15:53:28.106" v="8527" actId="478"/>
          <ac:cxnSpMkLst>
            <pc:docMk/>
            <pc:sldMk cId="3999969760" sldId="2146846407"/>
            <ac:cxnSpMk id="13" creationId="{09B5032D-5947-FCB0-4493-7A867A3151F8}"/>
          </ac:cxnSpMkLst>
        </pc:cxnChg>
        <pc:cxnChg chg="del mod">
          <ac:chgData name="Md Fahim Hasan" userId="92968fce-d4dd-4b9e-8635-66a07c9f98a7" providerId="ADAL" clId="{3A6F4128-6482-4C75-8C7D-220A75826C22}" dt="2023-07-20T15:53:28.106" v="8527" actId="478"/>
          <ac:cxnSpMkLst>
            <pc:docMk/>
            <pc:sldMk cId="3999969760" sldId="2146846407"/>
            <ac:cxnSpMk id="39" creationId="{02AF00EA-2876-8D8A-EBDA-74C62DE65DD0}"/>
          </ac:cxnSpMkLst>
        </pc:cxnChg>
        <pc:cxnChg chg="del mod">
          <ac:chgData name="Md Fahim Hasan" userId="92968fce-d4dd-4b9e-8635-66a07c9f98a7" providerId="ADAL" clId="{3A6F4128-6482-4C75-8C7D-220A75826C22}" dt="2023-07-20T15:53:28.106" v="8527" actId="478"/>
          <ac:cxnSpMkLst>
            <pc:docMk/>
            <pc:sldMk cId="3999969760" sldId="2146846407"/>
            <ac:cxnSpMk id="40" creationId="{B38667B8-2749-93A0-FCA9-9063F8CF7E76}"/>
          </ac:cxnSpMkLst>
        </pc:cxnChg>
        <pc:cxnChg chg="del mod">
          <ac:chgData name="Md Fahim Hasan" userId="92968fce-d4dd-4b9e-8635-66a07c9f98a7" providerId="ADAL" clId="{3A6F4128-6482-4C75-8C7D-220A75826C22}" dt="2023-07-20T15:53:28.106" v="8527" actId="478"/>
          <ac:cxnSpMkLst>
            <pc:docMk/>
            <pc:sldMk cId="3999969760" sldId="2146846407"/>
            <ac:cxnSpMk id="45" creationId="{A259E9D6-EB57-7CE8-3E09-F814D6FDA759}"/>
          </ac:cxnSpMkLst>
        </pc:cxnChg>
        <pc:cxnChg chg="del mod">
          <ac:chgData name="Md Fahim Hasan" userId="92968fce-d4dd-4b9e-8635-66a07c9f98a7" providerId="ADAL" clId="{3A6F4128-6482-4C75-8C7D-220A75826C22}" dt="2023-07-20T15:53:28.106" v="8527" actId="478"/>
          <ac:cxnSpMkLst>
            <pc:docMk/>
            <pc:sldMk cId="3999969760" sldId="2146846407"/>
            <ac:cxnSpMk id="49" creationId="{25CC8F31-8381-3139-2F65-E44EA605221F}"/>
          </ac:cxnSpMkLst>
        </pc:cxnChg>
      </pc:sldChg>
      <pc:sldChg chg="addSp delSp modSp add del mod ord setBg modAnim modCm modNotesTx">
        <pc:chgData name="Md Fahim Hasan" userId="92968fce-d4dd-4b9e-8635-66a07c9f98a7" providerId="ADAL" clId="{3A6F4128-6482-4C75-8C7D-220A75826C22}" dt="2023-07-26T18:06:39.821" v="22923" actId="2696"/>
        <pc:sldMkLst>
          <pc:docMk/>
          <pc:sldMk cId="1472277841" sldId="2146846408"/>
        </pc:sldMkLst>
        <pc:spChg chg="add del mod">
          <ac:chgData name="Md Fahim Hasan" userId="92968fce-d4dd-4b9e-8635-66a07c9f98a7" providerId="ADAL" clId="{3A6F4128-6482-4C75-8C7D-220A75826C22}" dt="2023-07-25T20:52:53.246" v="20760" actId="478"/>
          <ac:spMkLst>
            <pc:docMk/>
            <pc:sldMk cId="1472277841" sldId="2146846408"/>
            <ac:spMk id="2" creationId="{90C96AA1-6C12-6623-0754-4E4DD20BEE5B}"/>
          </ac:spMkLst>
        </pc:spChg>
        <pc:spChg chg="add del mod">
          <ac:chgData name="Md Fahim Hasan" userId="92968fce-d4dd-4b9e-8635-66a07c9f98a7" providerId="ADAL" clId="{3A6F4128-6482-4C75-8C7D-220A75826C22}" dt="2023-07-25T21:04:15.409" v="21043" actId="26606"/>
          <ac:spMkLst>
            <pc:docMk/>
            <pc:sldMk cId="1472277841" sldId="2146846408"/>
            <ac:spMk id="3" creationId="{CD848677-760A-76BD-3CD9-CFD89965D462}"/>
          </ac:spMkLst>
        </pc:spChg>
        <pc:spChg chg="add del">
          <ac:chgData name="Md Fahim Hasan" userId="92968fce-d4dd-4b9e-8635-66a07c9f98a7" providerId="ADAL" clId="{3A6F4128-6482-4C75-8C7D-220A75826C22}" dt="2023-07-25T20:55:35.763" v="20766" actId="478"/>
          <ac:spMkLst>
            <pc:docMk/>
            <pc:sldMk cId="1472277841" sldId="2146846408"/>
            <ac:spMk id="6" creationId="{6205F78A-3EBE-BE3F-1846-62A2F956B4B0}"/>
          </ac:spMkLst>
        </pc:spChg>
        <pc:spChg chg="add del">
          <ac:chgData name="Md Fahim Hasan" userId="92968fce-d4dd-4b9e-8635-66a07c9f98a7" providerId="ADAL" clId="{3A6F4128-6482-4C75-8C7D-220A75826C22}" dt="2023-07-25T20:55:35.763" v="20766" actId="478"/>
          <ac:spMkLst>
            <pc:docMk/>
            <pc:sldMk cId="1472277841" sldId="2146846408"/>
            <ac:spMk id="7" creationId="{72ECC0E0-7197-AA3F-131F-5E088B6EC931}"/>
          </ac:spMkLst>
        </pc:spChg>
        <pc:spChg chg="add del">
          <ac:chgData name="Md Fahim Hasan" userId="92968fce-d4dd-4b9e-8635-66a07c9f98a7" providerId="ADAL" clId="{3A6F4128-6482-4C75-8C7D-220A75826C22}" dt="2023-07-25T20:55:35.763" v="20766" actId="478"/>
          <ac:spMkLst>
            <pc:docMk/>
            <pc:sldMk cId="1472277841" sldId="2146846408"/>
            <ac:spMk id="8" creationId="{ECE8581D-9800-4DDB-D3A0-7B75B8FB1B46}"/>
          </ac:spMkLst>
        </pc:spChg>
        <pc:spChg chg="mod">
          <ac:chgData name="Md Fahim Hasan" userId="92968fce-d4dd-4b9e-8635-66a07c9f98a7" providerId="ADAL" clId="{3A6F4128-6482-4C75-8C7D-220A75826C22}" dt="2023-07-25T21:05:25.066" v="21056" actId="1076"/>
          <ac:spMkLst>
            <pc:docMk/>
            <pc:sldMk cId="1472277841" sldId="2146846408"/>
            <ac:spMk id="9" creationId="{DCE765C9-F866-A10C-05BC-B0F5CF7D4FA9}"/>
          </ac:spMkLst>
        </pc:spChg>
        <pc:spChg chg="add del">
          <ac:chgData name="Md Fahim Hasan" userId="92968fce-d4dd-4b9e-8635-66a07c9f98a7" providerId="ADAL" clId="{3A6F4128-6482-4C75-8C7D-220A75826C22}" dt="2023-07-25T20:55:35.763" v="20766" actId="478"/>
          <ac:spMkLst>
            <pc:docMk/>
            <pc:sldMk cId="1472277841" sldId="2146846408"/>
            <ac:spMk id="10" creationId="{7AE5803D-2B8D-47BB-A12F-C85D3779021D}"/>
          </ac:spMkLst>
        </pc:spChg>
        <pc:spChg chg="add mod">
          <ac:chgData name="Md Fahim Hasan" userId="92968fce-d4dd-4b9e-8635-66a07c9f98a7" providerId="ADAL" clId="{3A6F4128-6482-4C75-8C7D-220A75826C22}" dt="2023-07-25T21:09:59.939" v="21086" actId="1076"/>
          <ac:spMkLst>
            <pc:docMk/>
            <pc:sldMk cId="1472277841" sldId="2146846408"/>
            <ac:spMk id="16" creationId="{1B10CDD7-504B-1C05-A4E1-1590360071E2}"/>
          </ac:spMkLst>
        </pc:spChg>
        <pc:spChg chg="add del">
          <ac:chgData name="Md Fahim Hasan" userId="92968fce-d4dd-4b9e-8635-66a07c9f98a7" providerId="ADAL" clId="{3A6F4128-6482-4C75-8C7D-220A75826C22}" dt="2023-07-25T20:55:35.763" v="20766" actId="478"/>
          <ac:spMkLst>
            <pc:docMk/>
            <pc:sldMk cId="1472277841" sldId="2146846408"/>
            <ac:spMk id="18" creationId="{AC3CBFA3-7FA8-85D5-7DE8-59D405D204C9}"/>
          </ac:spMkLst>
        </pc:spChg>
        <pc:spChg chg="add del">
          <ac:chgData name="Md Fahim Hasan" userId="92968fce-d4dd-4b9e-8635-66a07c9f98a7" providerId="ADAL" clId="{3A6F4128-6482-4C75-8C7D-220A75826C22}" dt="2023-07-25T20:55:35.763" v="20766" actId="478"/>
          <ac:spMkLst>
            <pc:docMk/>
            <pc:sldMk cId="1472277841" sldId="2146846408"/>
            <ac:spMk id="19" creationId="{9A33764A-9917-A07B-92E1-E66FD52A4CA8}"/>
          </ac:spMkLst>
        </pc:spChg>
        <pc:spChg chg="add del">
          <ac:chgData name="Md Fahim Hasan" userId="92968fce-d4dd-4b9e-8635-66a07c9f98a7" providerId="ADAL" clId="{3A6F4128-6482-4C75-8C7D-220A75826C22}" dt="2023-07-25T20:55:35.763" v="20766" actId="478"/>
          <ac:spMkLst>
            <pc:docMk/>
            <pc:sldMk cId="1472277841" sldId="2146846408"/>
            <ac:spMk id="20" creationId="{1A58CBB7-A824-507D-EDB4-6203731FB829}"/>
          </ac:spMkLst>
        </pc:spChg>
        <pc:spChg chg="add del">
          <ac:chgData name="Md Fahim Hasan" userId="92968fce-d4dd-4b9e-8635-66a07c9f98a7" providerId="ADAL" clId="{3A6F4128-6482-4C75-8C7D-220A75826C22}" dt="2023-07-25T20:55:35.763" v="20766" actId="478"/>
          <ac:spMkLst>
            <pc:docMk/>
            <pc:sldMk cId="1472277841" sldId="2146846408"/>
            <ac:spMk id="21" creationId="{10711508-E5D8-8433-608C-8A0442536AA0}"/>
          </ac:spMkLst>
        </pc:spChg>
        <pc:spChg chg="add del">
          <ac:chgData name="Md Fahim Hasan" userId="92968fce-d4dd-4b9e-8635-66a07c9f98a7" providerId="ADAL" clId="{3A6F4128-6482-4C75-8C7D-220A75826C22}" dt="2023-07-25T20:55:35.763" v="20766" actId="478"/>
          <ac:spMkLst>
            <pc:docMk/>
            <pc:sldMk cId="1472277841" sldId="2146846408"/>
            <ac:spMk id="22" creationId="{04D66BED-2E2E-6C69-3EB8-91924493A7F4}"/>
          </ac:spMkLst>
        </pc:spChg>
        <pc:spChg chg="add del">
          <ac:chgData name="Md Fahim Hasan" userId="92968fce-d4dd-4b9e-8635-66a07c9f98a7" providerId="ADAL" clId="{3A6F4128-6482-4C75-8C7D-220A75826C22}" dt="2023-07-25T20:55:35.763" v="20766" actId="478"/>
          <ac:spMkLst>
            <pc:docMk/>
            <pc:sldMk cId="1472277841" sldId="2146846408"/>
            <ac:spMk id="23" creationId="{4FA4E587-8557-4C2C-33FA-2D504E9E0022}"/>
          </ac:spMkLst>
        </pc:spChg>
        <pc:spChg chg="add del">
          <ac:chgData name="Md Fahim Hasan" userId="92968fce-d4dd-4b9e-8635-66a07c9f98a7" providerId="ADAL" clId="{3A6F4128-6482-4C75-8C7D-220A75826C22}" dt="2023-07-25T20:55:35.763" v="20766" actId="478"/>
          <ac:spMkLst>
            <pc:docMk/>
            <pc:sldMk cId="1472277841" sldId="2146846408"/>
            <ac:spMk id="24" creationId="{0336DF13-A7D7-E236-F05F-883A26A906F8}"/>
          </ac:spMkLst>
        </pc:spChg>
        <pc:spChg chg="add del">
          <ac:chgData name="Md Fahim Hasan" userId="92968fce-d4dd-4b9e-8635-66a07c9f98a7" providerId="ADAL" clId="{3A6F4128-6482-4C75-8C7D-220A75826C22}" dt="2023-07-25T20:55:35.763" v="20766" actId="478"/>
          <ac:spMkLst>
            <pc:docMk/>
            <pc:sldMk cId="1472277841" sldId="2146846408"/>
            <ac:spMk id="25" creationId="{3A0BA5D7-145C-A133-5207-240BB0E7C960}"/>
          </ac:spMkLst>
        </pc:spChg>
        <pc:spChg chg="add del">
          <ac:chgData name="Md Fahim Hasan" userId="92968fce-d4dd-4b9e-8635-66a07c9f98a7" providerId="ADAL" clId="{3A6F4128-6482-4C75-8C7D-220A75826C22}" dt="2023-07-25T20:55:35.763" v="20766" actId="478"/>
          <ac:spMkLst>
            <pc:docMk/>
            <pc:sldMk cId="1472277841" sldId="2146846408"/>
            <ac:spMk id="26" creationId="{77E6E9CB-1D46-4F29-96F4-91A9AA5483D1}"/>
          </ac:spMkLst>
        </pc:spChg>
        <pc:spChg chg="add mod">
          <ac:chgData name="Md Fahim Hasan" userId="92968fce-d4dd-4b9e-8635-66a07c9f98a7" providerId="ADAL" clId="{3A6F4128-6482-4C75-8C7D-220A75826C22}" dt="2023-07-25T21:10:16.938" v="21094" actId="1036"/>
          <ac:spMkLst>
            <pc:docMk/>
            <pc:sldMk cId="1472277841" sldId="2146846408"/>
            <ac:spMk id="27" creationId="{3D06C40A-A0F5-6376-063E-518E3CA29771}"/>
          </ac:spMkLst>
        </pc:spChg>
        <pc:spChg chg="add mod">
          <ac:chgData name="Md Fahim Hasan" userId="92968fce-d4dd-4b9e-8635-66a07c9f98a7" providerId="ADAL" clId="{3A6F4128-6482-4C75-8C7D-220A75826C22}" dt="2023-07-25T21:09:55.872" v="21085" actId="1076"/>
          <ac:spMkLst>
            <pc:docMk/>
            <pc:sldMk cId="1472277841" sldId="2146846408"/>
            <ac:spMk id="28" creationId="{3481FD7F-0A3C-C3F2-E212-06D782EF337B}"/>
          </ac:spMkLst>
        </pc:spChg>
        <pc:spChg chg="add mod">
          <ac:chgData name="Md Fahim Hasan" userId="92968fce-d4dd-4b9e-8635-66a07c9f98a7" providerId="ADAL" clId="{3A6F4128-6482-4C75-8C7D-220A75826C22}" dt="2023-07-25T21:10:15.298" v="21090" actId="1036"/>
          <ac:spMkLst>
            <pc:docMk/>
            <pc:sldMk cId="1472277841" sldId="2146846408"/>
            <ac:spMk id="29" creationId="{F11D93C6-7A0E-5736-A537-81CF1CD2CEF1}"/>
          </ac:spMkLst>
        </pc:spChg>
        <pc:spChg chg="add del">
          <ac:chgData name="Md Fahim Hasan" userId="92968fce-d4dd-4b9e-8635-66a07c9f98a7" providerId="ADAL" clId="{3A6F4128-6482-4C75-8C7D-220A75826C22}" dt="2023-07-25T21:04:12.330" v="21039" actId="26606"/>
          <ac:spMkLst>
            <pc:docMk/>
            <pc:sldMk cId="1472277841" sldId="2146846408"/>
            <ac:spMk id="31" creationId="{AB8C311F-7253-4AED-9701-7FC0708C41C7}"/>
          </ac:spMkLst>
        </pc:spChg>
        <pc:spChg chg="add del">
          <ac:chgData name="Md Fahim Hasan" userId="92968fce-d4dd-4b9e-8635-66a07c9f98a7" providerId="ADAL" clId="{3A6F4128-6482-4C75-8C7D-220A75826C22}" dt="2023-07-25T21:04:12.330" v="21039" actId="26606"/>
          <ac:spMkLst>
            <pc:docMk/>
            <pc:sldMk cId="1472277841" sldId="2146846408"/>
            <ac:spMk id="32" creationId="{E2384209-CB15-4CDF-9D31-C44FD9A3F20D}"/>
          </ac:spMkLst>
        </pc:spChg>
        <pc:spChg chg="add del">
          <ac:chgData name="Md Fahim Hasan" userId="92968fce-d4dd-4b9e-8635-66a07c9f98a7" providerId="ADAL" clId="{3A6F4128-6482-4C75-8C7D-220A75826C22}" dt="2023-07-25T21:04:12.330" v="21039" actId="26606"/>
          <ac:spMkLst>
            <pc:docMk/>
            <pc:sldMk cId="1472277841" sldId="2146846408"/>
            <ac:spMk id="33" creationId="{2633B3B5-CC90-43F0-8714-D31D1F3F0209}"/>
          </ac:spMkLst>
        </pc:spChg>
        <pc:spChg chg="add del">
          <ac:chgData name="Md Fahim Hasan" userId="92968fce-d4dd-4b9e-8635-66a07c9f98a7" providerId="ADAL" clId="{3A6F4128-6482-4C75-8C7D-220A75826C22}" dt="2023-07-25T21:03:29.005" v="21021" actId="26606"/>
          <ac:spMkLst>
            <pc:docMk/>
            <pc:sldMk cId="1472277841" sldId="2146846408"/>
            <ac:spMk id="34" creationId="{BACC6370-2D7E-4714-9D71-7542949D7D5D}"/>
          </ac:spMkLst>
        </pc:spChg>
        <pc:spChg chg="add del">
          <ac:chgData name="Md Fahim Hasan" userId="92968fce-d4dd-4b9e-8635-66a07c9f98a7" providerId="ADAL" clId="{3A6F4128-6482-4C75-8C7D-220A75826C22}" dt="2023-07-25T21:04:12.330" v="21039" actId="26606"/>
          <ac:spMkLst>
            <pc:docMk/>
            <pc:sldMk cId="1472277841" sldId="2146846408"/>
            <ac:spMk id="35" creationId="{A8D57A06-A426-446D-B02C-A2DC6B62E45E}"/>
          </ac:spMkLst>
        </pc:spChg>
        <pc:spChg chg="add del">
          <ac:chgData name="Md Fahim Hasan" userId="92968fce-d4dd-4b9e-8635-66a07c9f98a7" providerId="ADAL" clId="{3A6F4128-6482-4C75-8C7D-220A75826C22}" dt="2023-07-25T21:03:29.005" v="21021" actId="26606"/>
          <ac:spMkLst>
            <pc:docMk/>
            <pc:sldMk cId="1472277841" sldId="2146846408"/>
            <ac:spMk id="36" creationId="{256B2C21-A230-48C0-8DF1-C46611373C44}"/>
          </ac:spMkLst>
        </pc:spChg>
        <pc:spChg chg="add del">
          <ac:chgData name="Md Fahim Hasan" userId="92968fce-d4dd-4b9e-8635-66a07c9f98a7" providerId="ADAL" clId="{3A6F4128-6482-4C75-8C7D-220A75826C22}" dt="2023-07-25T21:03:29.005" v="21021" actId="26606"/>
          <ac:spMkLst>
            <pc:docMk/>
            <pc:sldMk cId="1472277841" sldId="2146846408"/>
            <ac:spMk id="38" creationId="{3847E18C-932D-4C95-AABA-FEC7C9499AD7}"/>
          </ac:spMkLst>
        </pc:spChg>
        <pc:spChg chg="add del">
          <ac:chgData name="Md Fahim Hasan" userId="92968fce-d4dd-4b9e-8635-66a07c9f98a7" providerId="ADAL" clId="{3A6F4128-6482-4C75-8C7D-220A75826C22}" dt="2023-07-25T21:04:13.833" v="21041" actId="26606"/>
          <ac:spMkLst>
            <pc:docMk/>
            <pc:sldMk cId="1472277841" sldId="2146846408"/>
            <ac:spMk id="39" creationId="{86FF76B9-219D-4469-AF87-0236D29032F1}"/>
          </ac:spMkLst>
        </pc:spChg>
        <pc:spChg chg="add del">
          <ac:chgData name="Md Fahim Hasan" userId="92968fce-d4dd-4b9e-8635-66a07c9f98a7" providerId="ADAL" clId="{3A6F4128-6482-4C75-8C7D-220A75826C22}" dt="2023-07-25T21:03:29.005" v="21021" actId="26606"/>
          <ac:spMkLst>
            <pc:docMk/>
            <pc:sldMk cId="1472277841" sldId="2146846408"/>
            <ac:spMk id="40" creationId="{3150CB11-0C61-439E-910F-5787759E72A0}"/>
          </ac:spMkLst>
        </pc:spChg>
        <pc:spChg chg="add del">
          <ac:chgData name="Md Fahim Hasan" userId="92968fce-d4dd-4b9e-8635-66a07c9f98a7" providerId="ADAL" clId="{3A6F4128-6482-4C75-8C7D-220A75826C22}" dt="2023-07-25T21:03:29.005" v="21021" actId="26606"/>
          <ac:spMkLst>
            <pc:docMk/>
            <pc:sldMk cId="1472277841" sldId="2146846408"/>
            <ac:spMk id="42" creationId="{43F8A58B-5155-44CE-A5FF-7647B47D0A7A}"/>
          </ac:spMkLst>
        </pc:spChg>
        <pc:spChg chg="add del">
          <ac:chgData name="Md Fahim Hasan" userId="92968fce-d4dd-4b9e-8635-66a07c9f98a7" providerId="ADAL" clId="{3A6F4128-6482-4C75-8C7D-220A75826C22}" dt="2023-07-25T21:03:29.005" v="21021" actId="26606"/>
          <ac:spMkLst>
            <pc:docMk/>
            <pc:sldMk cId="1472277841" sldId="2146846408"/>
            <ac:spMk id="44" creationId="{443F2ACA-E6D6-4028-82DD-F03C262D5DE6}"/>
          </ac:spMkLst>
        </pc:spChg>
        <pc:spChg chg="add del">
          <ac:chgData name="Md Fahim Hasan" userId="92968fce-d4dd-4b9e-8635-66a07c9f98a7" providerId="ADAL" clId="{3A6F4128-6482-4C75-8C7D-220A75826C22}" dt="2023-07-25T21:04:13.833" v="21041" actId="26606"/>
          <ac:spMkLst>
            <pc:docMk/>
            <pc:sldMk cId="1472277841" sldId="2146846408"/>
            <ac:spMk id="45" creationId="{2E80C965-DB6D-4F81-9E9E-B027384D0BD6}"/>
          </ac:spMkLst>
        </pc:spChg>
        <pc:spChg chg="add del">
          <ac:chgData name="Md Fahim Hasan" userId="92968fce-d4dd-4b9e-8635-66a07c9f98a7" providerId="ADAL" clId="{3A6F4128-6482-4C75-8C7D-220A75826C22}" dt="2023-07-25T21:03:33.964" v="21023" actId="26606"/>
          <ac:spMkLst>
            <pc:docMk/>
            <pc:sldMk cId="1472277841" sldId="2146846408"/>
            <ac:spMk id="46" creationId="{7DA1F35B-C8F7-4A5A-9339-7DA4D785B300}"/>
          </ac:spMkLst>
        </pc:spChg>
        <pc:spChg chg="add del">
          <ac:chgData name="Md Fahim Hasan" userId="92968fce-d4dd-4b9e-8635-66a07c9f98a7" providerId="ADAL" clId="{3A6F4128-6482-4C75-8C7D-220A75826C22}" dt="2023-07-25T21:03:33.964" v="21023" actId="26606"/>
          <ac:spMkLst>
            <pc:docMk/>
            <pc:sldMk cId="1472277841" sldId="2146846408"/>
            <ac:spMk id="47" creationId="{B2D4AD41-40DA-4A81-92F5-B6E3BA1ED82A}"/>
          </ac:spMkLst>
        </pc:spChg>
        <pc:spChg chg="add del">
          <ac:chgData name="Md Fahim Hasan" userId="92968fce-d4dd-4b9e-8635-66a07c9f98a7" providerId="ADAL" clId="{3A6F4128-6482-4C75-8C7D-220A75826C22}" dt="2023-07-25T21:04:13.833" v="21041" actId="26606"/>
          <ac:spMkLst>
            <pc:docMk/>
            <pc:sldMk cId="1472277841" sldId="2146846408"/>
            <ac:spMk id="48" creationId="{633C5E46-DAC5-4661-9C87-22B08E2A512F}"/>
          </ac:spMkLst>
        </pc:spChg>
        <pc:spChg chg="add del">
          <ac:chgData name="Md Fahim Hasan" userId="92968fce-d4dd-4b9e-8635-66a07c9f98a7" providerId="ADAL" clId="{3A6F4128-6482-4C75-8C7D-220A75826C22}" dt="2023-07-25T21:03:36.317" v="21025" actId="26606"/>
          <ac:spMkLst>
            <pc:docMk/>
            <pc:sldMk cId="1472277841" sldId="2146846408"/>
            <ac:spMk id="49" creationId="{2659FDB4-FCBE-4A89-B46D-43D4FA54464D}"/>
          </ac:spMkLst>
        </pc:spChg>
        <pc:spChg chg="add del">
          <ac:chgData name="Md Fahim Hasan" userId="92968fce-d4dd-4b9e-8635-66a07c9f98a7" providerId="ADAL" clId="{3A6F4128-6482-4C75-8C7D-220A75826C22}" dt="2023-07-25T21:03:42.182" v="21027" actId="26606"/>
          <ac:spMkLst>
            <pc:docMk/>
            <pc:sldMk cId="1472277841" sldId="2146846408"/>
            <ac:spMk id="52" creationId="{AFF8D2E5-2C4E-47B1-930B-6C82B7C31331}"/>
          </ac:spMkLst>
        </pc:spChg>
        <pc:spChg chg="add del">
          <ac:chgData name="Md Fahim Hasan" userId="92968fce-d4dd-4b9e-8635-66a07c9f98a7" providerId="ADAL" clId="{3A6F4128-6482-4C75-8C7D-220A75826C22}" dt="2023-07-25T21:03:42.182" v="21027" actId="26606"/>
          <ac:spMkLst>
            <pc:docMk/>
            <pc:sldMk cId="1472277841" sldId="2146846408"/>
            <ac:spMk id="53" creationId="{801E4ADA-0EA9-4930-846E-3C11E8BED6DD}"/>
          </ac:spMkLst>
        </pc:spChg>
        <pc:spChg chg="add del">
          <ac:chgData name="Md Fahim Hasan" userId="92968fce-d4dd-4b9e-8635-66a07c9f98a7" providerId="ADAL" clId="{3A6F4128-6482-4C75-8C7D-220A75826C22}" dt="2023-07-25T21:03:42.182" v="21027" actId="26606"/>
          <ac:spMkLst>
            <pc:docMk/>
            <pc:sldMk cId="1472277841" sldId="2146846408"/>
            <ac:spMk id="54" creationId="{FB92FFCE-0C90-454E-AA25-D4EE9A6C39C5}"/>
          </ac:spMkLst>
        </pc:spChg>
        <pc:spChg chg="add mod ord">
          <ac:chgData name="Md Fahim Hasan" userId="92968fce-d4dd-4b9e-8635-66a07c9f98a7" providerId="ADAL" clId="{3A6F4128-6482-4C75-8C7D-220A75826C22}" dt="2023-07-25T21:05:17.624" v="21053" actId="2085"/>
          <ac:spMkLst>
            <pc:docMk/>
            <pc:sldMk cId="1472277841" sldId="2146846408"/>
            <ac:spMk id="55" creationId="{E5C7310A-3226-177F-2301-3DE6D935F21A}"/>
          </ac:spMkLst>
        </pc:spChg>
        <pc:spChg chg="add del">
          <ac:chgData name="Md Fahim Hasan" userId="92968fce-d4dd-4b9e-8635-66a07c9f98a7" providerId="ADAL" clId="{3A6F4128-6482-4C75-8C7D-220A75826C22}" dt="2023-07-25T21:03:43.758" v="21029" actId="26606"/>
          <ac:spMkLst>
            <pc:docMk/>
            <pc:sldMk cId="1472277841" sldId="2146846408"/>
            <ac:spMk id="56" creationId="{738F59A4-4431-460D-8E49-6E65C189A566}"/>
          </ac:spMkLst>
        </pc:spChg>
        <pc:spChg chg="add del">
          <ac:chgData name="Md Fahim Hasan" userId="92968fce-d4dd-4b9e-8635-66a07c9f98a7" providerId="ADAL" clId="{3A6F4128-6482-4C75-8C7D-220A75826C22}" dt="2023-07-25T21:03:47.978" v="21031" actId="26606"/>
          <ac:spMkLst>
            <pc:docMk/>
            <pc:sldMk cId="1472277841" sldId="2146846408"/>
            <ac:spMk id="60" creationId="{DA8886A6-5426-494B-96D8-D962D2BA0818}"/>
          </ac:spMkLst>
        </pc:spChg>
        <pc:spChg chg="add del">
          <ac:chgData name="Md Fahim Hasan" userId="92968fce-d4dd-4b9e-8635-66a07c9f98a7" providerId="ADAL" clId="{3A6F4128-6482-4C75-8C7D-220A75826C22}" dt="2023-07-25T21:03:47.978" v="21031" actId="26606"/>
          <ac:spMkLst>
            <pc:docMk/>
            <pc:sldMk cId="1472277841" sldId="2146846408"/>
            <ac:spMk id="61" creationId="{AA3ED336-C09E-46E8-9774-B977D15FC5E0}"/>
          </ac:spMkLst>
        </pc:spChg>
        <pc:spChg chg="add del">
          <ac:chgData name="Md Fahim Hasan" userId="92968fce-d4dd-4b9e-8635-66a07c9f98a7" providerId="ADAL" clId="{3A6F4128-6482-4C75-8C7D-220A75826C22}" dt="2023-07-25T21:06:36.554" v="21065" actId="478"/>
          <ac:spMkLst>
            <pc:docMk/>
            <pc:sldMk cId="1472277841" sldId="2146846408"/>
            <ac:spMk id="67" creationId="{11EFA2D4-1247-C406-D06C-6A5594CB5A25}"/>
          </ac:spMkLst>
        </pc:spChg>
        <pc:spChg chg="add mod ord">
          <ac:chgData name="Md Fahim Hasan" userId="92968fce-d4dd-4b9e-8635-66a07c9f98a7" providerId="ADAL" clId="{3A6F4128-6482-4C75-8C7D-220A75826C22}" dt="2023-07-25T21:11:38.107" v="21107" actId="1582"/>
          <ac:spMkLst>
            <pc:docMk/>
            <pc:sldMk cId="1472277841" sldId="2146846408"/>
            <ac:spMk id="76" creationId="{92C4EE77-FE88-166F-8FBC-34CBAAD6B816}"/>
          </ac:spMkLst>
        </pc:spChg>
        <pc:grpChg chg="add del">
          <ac:chgData name="Md Fahim Hasan" userId="92968fce-d4dd-4b9e-8635-66a07c9f98a7" providerId="ADAL" clId="{3A6F4128-6482-4C75-8C7D-220A75826C22}" dt="2023-07-25T21:04:13.833" v="21041" actId="26606"/>
          <ac:grpSpMkLst>
            <pc:docMk/>
            <pc:sldMk cId="1472277841" sldId="2146846408"/>
            <ac:grpSpMk id="41" creationId="{DB88BD78-87E1-424D-B479-C37D8E41B12E}"/>
          </ac:grpSpMkLst>
        </pc:grpChg>
        <pc:grpChg chg="add del">
          <ac:chgData name="Md Fahim Hasan" userId="92968fce-d4dd-4b9e-8635-66a07c9f98a7" providerId="ADAL" clId="{3A6F4128-6482-4C75-8C7D-220A75826C22}" dt="2023-07-25T21:03:43.758" v="21029" actId="26606"/>
          <ac:grpSpMkLst>
            <pc:docMk/>
            <pc:sldMk cId="1472277841" sldId="2146846408"/>
            <ac:grpSpMk id="57" creationId="{8A919B9C-5C01-47E4-B2F2-45F589208ABF}"/>
          </ac:grpSpMkLst>
        </pc:grpChg>
        <pc:graphicFrameChg chg="add del modGraphic">
          <ac:chgData name="Md Fahim Hasan" userId="92968fce-d4dd-4b9e-8635-66a07c9f98a7" providerId="ADAL" clId="{3A6F4128-6482-4C75-8C7D-220A75826C22}" dt="2023-07-25T20:55:26.330" v="20763" actId="1032"/>
          <ac:graphicFrameMkLst>
            <pc:docMk/>
            <pc:sldMk cId="1472277841" sldId="2146846408"/>
            <ac:graphicFrameMk id="11" creationId="{29A1508D-EB8E-4152-088E-737A499D7CF7}"/>
          </ac:graphicFrameMkLst>
        </pc:graphicFrameChg>
        <pc:graphicFrameChg chg="add mod modGraphic">
          <ac:chgData name="Md Fahim Hasan" userId="92968fce-d4dd-4b9e-8635-66a07c9f98a7" providerId="ADAL" clId="{3A6F4128-6482-4C75-8C7D-220A75826C22}" dt="2023-07-25T21:04:15.409" v="21043" actId="26606"/>
          <ac:graphicFrameMkLst>
            <pc:docMk/>
            <pc:sldMk cId="1472277841" sldId="2146846408"/>
            <ac:graphicFrameMk id="12" creationId="{ADEE726F-7E49-178D-0C5B-D383F77FC99D}"/>
          </ac:graphicFrameMkLst>
        </pc:graphicFrameChg>
        <pc:graphicFrameChg chg="add del mod modGraphic">
          <ac:chgData name="Md Fahim Hasan" userId="92968fce-d4dd-4b9e-8635-66a07c9f98a7" providerId="ADAL" clId="{3A6F4128-6482-4C75-8C7D-220A75826C22}" dt="2023-07-25T21:00:03.195" v="20914" actId="478"/>
          <ac:graphicFrameMkLst>
            <pc:docMk/>
            <pc:sldMk cId="1472277841" sldId="2146846408"/>
            <ac:graphicFrameMk id="14" creationId="{5EC342A7-DFFB-FB17-01CC-ACFC40B1DC15}"/>
          </ac:graphicFrameMkLst>
        </pc:graphicFrameChg>
        <pc:picChg chg="add mod">
          <ac:chgData name="Md Fahim Hasan" userId="92968fce-d4dd-4b9e-8635-66a07c9f98a7" providerId="ADAL" clId="{3A6F4128-6482-4C75-8C7D-220A75826C22}" dt="2023-07-25T21:05:36.252" v="21058" actId="1076"/>
          <ac:picMkLst>
            <pc:docMk/>
            <pc:sldMk cId="1472277841" sldId="2146846408"/>
            <ac:picMk id="59" creationId="{401BF96B-9F88-6753-ACCB-A56A59B79EEF}"/>
          </ac:picMkLst>
        </pc:picChg>
        <pc:picChg chg="add del mod ord">
          <ac:chgData name="Md Fahim Hasan" userId="92968fce-d4dd-4b9e-8635-66a07c9f98a7" providerId="ADAL" clId="{3A6F4128-6482-4C75-8C7D-220A75826C22}" dt="2023-07-25T21:22:17.447" v="21189" actId="478"/>
          <ac:picMkLst>
            <pc:docMk/>
            <pc:sldMk cId="1472277841" sldId="2146846408"/>
            <ac:picMk id="77" creationId="{E1D5C39B-AB55-71FF-B8D0-87A682F0B9D7}"/>
          </ac:picMkLst>
        </pc:picChg>
        <pc:cxnChg chg="add del mod">
          <ac:chgData name="Md Fahim Hasan" userId="92968fce-d4dd-4b9e-8635-66a07c9f98a7" providerId="ADAL" clId="{3A6F4128-6482-4C75-8C7D-220A75826C22}" dt="2023-07-25T20:55:35.763" v="20766" actId="478"/>
          <ac:cxnSpMkLst>
            <pc:docMk/>
            <pc:sldMk cId="1472277841" sldId="2146846408"/>
            <ac:cxnSpMk id="13" creationId="{34C73A0B-BFB5-348F-BF8B-469CCC22122B}"/>
          </ac:cxnSpMkLst>
        </pc:cxnChg>
        <pc:cxnChg chg="add del mod">
          <ac:chgData name="Md Fahim Hasan" userId="92968fce-d4dd-4b9e-8635-66a07c9f98a7" providerId="ADAL" clId="{3A6F4128-6482-4C75-8C7D-220A75826C22}" dt="2023-07-25T20:55:35.763" v="20766" actId="478"/>
          <ac:cxnSpMkLst>
            <pc:docMk/>
            <pc:sldMk cId="1472277841" sldId="2146846408"/>
            <ac:cxnSpMk id="15" creationId="{1B41B782-518C-587F-96EC-6F9C00E62882}"/>
          </ac:cxnSpMkLst>
        </pc:cxnChg>
        <pc:cxnChg chg="add del mod">
          <ac:chgData name="Md Fahim Hasan" userId="92968fce-d4dd-4b9e-8635-66a07c9f98a7" providerId="ADAL" clId="{3A6F4128-6482-4C75-8C7D-220A75826C22}" dt="2023-07-25T20:55:35.763" v="20766" actId="478"/>
          <ac:cxnSpMkLst>
            <pc:docMk/>
            <pc:sldMk cId="1472277841" sldId="2146846408"/>
            <ac:cxnSpMk id="17" creationId="{07BEA832-5C77-7292-901E-098AE5481475}"/>
          </ac:cxnSpMkLst>
        </pc:cxnChg>
        <pc:cxnChg chg="add del">
          <ac:chgData name="Md Fahim Hasan" userId="92968fce-d4dd-4b9e-8635-66a07c9f98a7" providerId="ADAL" clId="{3A6F4128-6482-4C75-8C7D-220A75826C22}" dt="2023-07-25T21:03:36.317" v="21025" actId="26606"/>
          <ac:cxnSpMkLst>
            <pc:docMk/>
            <pc:sldMk cId="1472277841" sldId="2146846408"/>
            <ac:cxnSpMk id="50" creationId="{C8F51B3F-8331-4E4A-AE96-D47B1006EEAD}"/>
          </ac:cxnSpMkLst>
        </pc:cxnChg>
        <pc:cxnChg chg="add del mod">
          <ac:chgData name="Md Fahim Hasan" userId="92968fce-d4dd-4b9e-8635-66a07c9f98a7" providerId="ADAL" clId="{3A6F4128-6482-4C75-8C7D-220A75826C22}" dt="2023-07-25T21:04:49.657" v="21050" actId="478"/>
          <ac:cxnSpMkLst>
            <pc:docMk/>
            <pc:sldMk cId="1472277841" sldId="2146846408"/>
            <ac:cxnSpMk id="51" creationId="{82B1D287-9CAF-430E-4252-6D3DEBDB2FB2}"/>
          </ac:cxnSpMkLst>
        </pc:cxnChg>
        <pc:cxnChg chg="add del mod">
          <ac:chgData name="Md Fahim Hasan" userId="92968fce-d4dd-4b9e-8635-66a07c9f98a7" providerId="ADAL" clId="{3A6F4128-6482-4C75-8C7D-220A75826C22}" dt="2023-07-25T21:06:10.584" v="21063" actId="478"/>
          <ac:cxnSpMkLst>
            <pc:docMk/>
            <pc:sldMk cId="1472277841" sldId="2146846408"/>
            <ac:cxnSpMk id="63" creationId="{236B7B10-2623-A9DD-5649-3AB57DB62FA4}"/>
          </ac:cxnSpMkLst>
        </pc:cxnChg>
        <pc:cxnChg chg="add del">
          <ac:chgData name="Md Fahim Hasan" userId="92968fce-d4dd-4b9e-8635-66a07c9f98a7" providerId="ADAL" clId="{3A6F4128-6482-4C75-8C7D-220A75826C22}" dt="2023-07-25T21:08:51.679" v="21079" actId="478"/>
          <ac:cxnSpMkLst>
            <pc:docMk/>
            <pc:sldMk cId="1472277841" sldId="2146846408"/>
            <ac:cxnSpMk id="69" creationId="{A961C72E-DE9A-9571-EB82-BFBBBF342816}"/>
          </ac:cxnSpMkLst>
        </pc:cxnChg>
        <pc:cxnChg chg="add del mod">
          <ac:chgData name="Md Fahim Hasan" userId="92968fce-d4dd-4b9e-8635-66a07c9f98a7" providerId="ADAL" clId="{3A6F4128-6482-4C75-8C7D-220A75826C22}" dt="2023-07-25T21:08:50.586" v="21078" actId="478"/>
          <ac:cxnSpMkLst>
            <pc:docMk/>
            <pc:sldMk cId="1472277841" sldId="2146846408"/>
            <ac:cxnSpMk id="70" creationId="{EA7A5E5E-90DA-97F0-3E07-C1CBC8C80ADF}"/>
          </ac:cxnSpMkLst>
        </pc:cxnChg>
      </pc:sldChg>
      <pc:sldChg chg="addSp delSp modSp add mod modNotesTx">
        <pc:chgData name="Md Fahim Hasan" userId="92968fce-d4dd-4b9e-8635-66a07c9f98a7" providerId="ADAL" clId="{3A6F4128-6482-4C75-8C7D-220A75826C22}" dt="2023-07-27T15:55:03.665" v="35729" actId="1076"/>
        <pc:sldMkLst>
          <pc:docMk/>
          <pc:sldMk cId="2055594962" sldId="2146846408"/>
        </pc:sldMkLst>
        <pc:spChg chg="mod">
          <ac:chgData name="Md Fahim Hasan" userId="92968fce-d4dd-4b9e-8635-66a07c9f98a7" providerId="ADAL" clId="{3A6F4128-6482-4C75-8C7D-220A75826C22}" dt="2023-07-27T15:51:58.279" v="35706"/>
          <ac:spMkLst>
            <pc:docMk/>
            <pc:sldMk cId="2055594962" sldId="2146846408"/>
            <ac:spMk id="3" creationId="{CD848677-760A-76BD-3CD9-CFD89965D462}"/>
          </ac:spMkLst>
        </pc:spChg>
        <pc:picChg chg="add del mod">
          <ac:chgData name="Md Fahim Hasan" userId="92968fce-d4dd-4b9e-8635-66a07c9f98a7" providerId="ADAL" clId="{3A6F4128-6482-4C75-8C7D-220A75826C22}" dt="2023-07-27T15:55:03.665" v="35729" actId="1076"/>
          <ac:picMkLst>
            <pc:docMk/>
            <pc:sldMk cId="2055594962" sldId="2146846408"/>
            <ac:picMk id="59" creationId="{401BF96B-9F88-6753-ACCB-A56A59B79EEF}"/>
          </ac:picMkLst>
        </pc:picChg>
      </pc:sldChg>
      <pc:sldChg chg="modSp add del mod ord">
        <pc:chgData name="Md Fahim Hasan" userId="92968fce-d4dd-4b9e-8635-66a07c9f98a7" providerId="ADAL" clId="{3A6F4128-6482-4C75-8C7D-220A75826C22}" dt="2023-07-25T20:22:41.037" v="20420" actId="47"/>
        <pc:sldMkLst>
          <pc:docMk/>
          <pc:sldMk cId="1297891068" sldId="2146846409"/>
        </pc:sldMkLst>
        <pc:spChg chg="mod">
          <ac:chgData name="Md Fahim Hasan" userId="92968fce-d4dd-4b9e-8635-66a07c9f98a7" providerId="ADAL" clId="{3A6F4128-6482-4C75-8C7D-220A75826C22}" dt="2023-07-25T20:18:30.429" v="20384" actId="1076"/>
          <ac:spMkLst>
            <pc:docMk/>
            <pc:sldMk cId="1297891068" sldId="2146846409"/>
            <ac:spMk id="2" creationId="{2D24C0E3-9AC6-9E0F-FEBB-E309F201ABEA}"/>
          </ac:spMkLst>
        </pc:spChg>
        <pc:spChg chg="mod">
          <ac:chgData name="Md Fahim Hasan" userId="92968fce-d4dd-4b9e-8635-66a07c9f98a7" providerId="ADAL" clId="{3A6F4128-6482-4C75-8C7D-220A75826C22}" dt="2023-07-25T20:18:30.429" v="20384" actId="1076"/>
          <ac:spMkLst>
            <pc:docMk/>
            <pc:sldMk cId="1297891068" sldId="2146846409"/>
            <ac:spMk id="3" creationId="{D66E8505-35CE-3AD3-8796-107901306AE8}"/>
          </ac:spMkLst>
        </pc:spChg>
        <pc:spChg chg="mod">
          <ac:chgData name="Md Fahim Hasan" userId="92968fce-d4dd-4b9e-8635-66a07c9f98a7" providerId="ADAL" clId="{3A6F4128-6482-4C75-8C7D-220A75826C22}" dt="2023-07-20T18:09:55.452" v="9352" actId="27636"/>
          <ac:spMkLst>
            <pc:docMk/>
            <pc:sldMk cId="1297891068" sldId="2146846409"/>
            <ac:spMk id="9" creationId="{DCE765C9-F866-A10C-05BC-B0F5CF7D4FA9}"/>
          </ac:spMkLst>
        </pc:spChg>
        <pc:spChg chg="mod">
          <ac:chgData name="Md Fahim Hasan" userId="92968fce-d4dd-4b9e-8635-66a07c9f98a7" providerId="ADAL" clId="{3A6F4128-6482-4C75-8C7D-220A75826C22}" dt="2023-07-25T20:18:30.429" v="20384" actId="1076"/>
          <ac:spMkLst>
            <pc:docMk/>
            <pc:sldMk cId="1297891068" sldId="2146846409"/>
            <ac:spMk id="11" creationId="{34104EF3-AE2A-10CD-807A-5E8D98642890}"/>
          </ac:spMkLst>
        </pc:spChg>
        <pc:spChg chg="mod">
          <ac:chgData name="Md Fahim Hasan" userId="92968fce-d4dd-4b9e-8635-66a07c9f98a7" providerId="ADAL" clId="{3A6F4128-6482-4C75-8C7D-220A75826C22}" dt="2023-07-25T20:18:30.429" v="20384" actId="1076"/>
          <ac:spMkLst>
            <pc:docMk/>
            <pc:sldMk cId="1297891068" sldId="2146846409"/>
            <ac:spMk id="12" creationId="{563AE502-BE2B-F7DC-8070-3C524C7FC52F}"/>
          </ac:spMkLst>
        </pc:spChg>
        <pc:spChg chg="mod">
          <ac:chgData name="Md Fahim Hasan" userId="92968fce-d4dd-4b9e-8635-66a07c9f98a7" providerId="ADAL" clId="{3A6F4128-6482-4C75-8C7D-220A75826C22}" dt="2023-07-25T20:18:30.429" v="20384" actId="1076"/>
          <ac:spMkLst>
            <pc:docMk/>
            <pc:sldMk cId="1297891068" sldId="2146846409"/>
            <ac:spMk id="15" creationId="{A831B13C-8409-F4FA-2FD1-7B0D4DD54039}"/>
          </ac:spMkLst>
        </pc:spChg>
        <pc:spChg chg="mod">
          <ac:chgData name="Md Fahim Hasan" userId="92968fce-d4dd-4b9e-8635-66a07c9f98a7" providerId="ADAL" clId="{3A6F4128-6482-4C75-8C7D-220A75826C22}" dt="2023-07-25T20:18:30.429" v="20384" actId="1076"/>
          <ac:spMkLst>
            <pc:docMk/>
            <pc:sldMk cId="1297891068" sldId="2146846409"/>
            <ac:spMk id="16" creationId="{74FA2828-4265-79AB-6956-60772E0CBF25}"/>
          </ac:spMkLst>
        </pc:spChg>
        <pc:picChg chg="mod">
          <ac:chgData name="Md Fahim Hasan" userId="92968fce-d4dd-4b9e-8635-66a07c9f98a7" providerId="ADAL" clId="{3A6F4128-6482-4C75-8C7D-220A75826C22}" dt="2023-07-25T20:18:30.429" v="20384" actId="1076"/>
          <ac:picMkLst>
            <pc:docMk/>
            <pc:sldMk cId="1297891068" sldId="2146846409"/>
            <ac:picMk id="4" creationId="{1B7C3091-DEA4-66D1-884C-6CB2FD58DBE7}"/>
          </ac:picMkLst>
        </pc:picChg>
        <pc:picChg chg="mod">
          <ac:chgData name="Md Fahim Hasan" userId="92968fce-d4dd-4b9e-8635-66a07c9f98a7" providerId="ADAL" clId="{3A6F4128-6482-4C75-8C7D-220A75826C22}" dt="2023-07-25T20:18:30.429" v="20384" actId="1076"/>
          <ac:picMkLst>
            <pc:docMk/>
            <pc:sldMk cId="1297891068" sldId="2146846409"/>
            <ac:picMk id="7" creationId="{B5713B37-2314-473A-D0AE-587C49D1AB77}"/>
          </ac:picMkLst>
        </pc:picChg>
        <pc:picChg chg="mod">
          <ac:chgData name="Md Fahim Hasan" userId="92968fce-d4dd-4b9e-8635-66a07c9f98a7" providerId="ADAL" clId="{3A6F4128-6482-4C75-8C7D-220A75826C22}" dt="2023-07-25T20:18:30.429" v="20384" actId="1076"/>
          <ac:picMkLst>
            <pc:docMk/>
            <pc:sldMk cId="1297891068" sldId="2146846409"/>
            <ac:picMk id="13" creationId="{46FD433A-9C17-B9F2-33F5-318B3A425069}"/>
          </ac:picMkLst>
        </pc:picChg>
        <pc:picChg chg="mod">
          <ac:chgData name="Md Fahim Hasan" userId="92968fce-d4dd-4b9e-8635-66a07c9f98a7" providerId="ADAL" clId="{3A6F4128-6482-4C75-8C7D-220A75826C22}" dt="2023-07-25T20:18:30.429" v="20384" actId="1076"/>
          <ac:picMkLst>
            <pc:docMk/>
            <pc:sldMk cId="1297891068" sldId="2146846409"/>
            <ac:picMk id="14" creationId="{D31D8173-1F85-39E6-CA70-70E6E8DBB3C5}"/>
          </ac:picMkLst>
        </pc:picChg>
        <pc:cxnChg chg="mod">
          <ac:chgData name="Md Fahim Hasan" userId="92968fce-d4dd-4b9e-8635-66a07c9f98a7" providerId="ADAL" clId="{3A6F4128-6482-4C75-8C7D-220A75826C22}" dt="2023-07-25T20:18:30.429" v="20384" actId="1076"/>
          <ac:cxnSpMkLst>
            <pc:docMk/>
            <pc:sldMk cId="1297891068" sldId="2146846409"/>
            <ac:cxnSpMk id="24" creationId="{99D01E62-F77D-E62A-0C2D-824A66B5AD7B}"/>
          </ac:cxnSpMkLst>
        </pc:cxnChg>
      </pc:sldChg>
      <pc:sldChg chg="addSp delSp modSp add mod ord setBg">
        <pc:chgData name="Md Fahim Hasan" userId="92968fce-d4dd-4b9e-8635-66a07c9f98a7" providerId="ADAL" clId="{3A6F4128-6482-4C75-8C7D-220A75826C22}" dt="2023-07-27T20:38:52.095" v="38051" actId="1076"/>
        <pc:sldMkLst>
          <pc:docMk/>
          <pc:sldMk cId="1968008277" sldId="2146846410"/>
        </pc:sldMkLst>
        <pc:spChg chg="add del mod">
          <ac:chgData name="Md Fahim Hasan" userId="92968fce-d4dd-4b9e-8635-66a07c9f98a7" providerId="ADAL" clId="{3A6F4128-6482-4C75-8C7D-220A75826C22}" dt="2023-07-21T23:52:09.168" v="14379" actId="478"/>
          <ac:spMkLst>
            <pc:docMk/>
            <pc:sldMk cId="1968008277" sldId="2146846410"/>
            <ac:spMk id="6" creationId="{4EEC6E4E-B19F-E348-6D5D-F87DC8402C51}"/>
          </ac:spMkLst>
        </pc:spChg>
        <pc:spChg chg="add mod">
          <ac:chgData name="Md Fahim Hasan" userId="92968fce-d4dd-4b9e-8635-66a07c9f98a7" providerId="ADAL" clId="{3A6F4128-6482-4C75-8C7D-220A75826C22}" dt="2023-07-27T20:38:36.921" v="38047" actId="14100"/>
          <ac:spMkLst>
            <pc:docMk/>
            <pc:sldMk cId="1968008277" sldId="2146846410"/>
            <ac:spMk id="7" creationId="{CD5ED03A-3B9D-9120-10C9-16CF3D860C61}"/>
          </ac:spMkLst>
        </pc:spChg>
        <pc:spChg chg="add del mod">
          <ac:chgData name="Md Fahim Hasan" userId="92968fce-d4dd-4b9e-8635-66a07c9f98a7" providerId="ADAL" clId="{3A6F4128-6482-4C75-8C7D-220A75826C22}" dt="2023-07-21T23:52:09.168" v="14379" actId="478"/>
          <ac:spMkLst>
            <pc:docMk/>
            <pc:sldMk cId="1968008277" sldId="2146846410"/>
            <ac:spMk id="8" creationId="{823AE63C-6241-C6FC-429A-F1E78D0443CD}"/>
          </ac:spMkLst>
        </pc:spChg>
        <pc:spChg chg="mod">
          <ac:chgData name="Md Fahim Hasan" userId="92968fce-d4dd-4b9e-8635-66a07c9f98a7" providerId="ADAL" clId="{3A6F4128-6482-4C75-8C7D-220A75826C22}" dt="2023-07-21T23:53:54.586" v="14408" actId="26606"/>
          <ac:spMkLst>
            <pc:docMk/>
            <pc:sldMk cId="1968008277" sldId="2146846410"/>
            <ac:spMk id="9" creationId="{DCE765C9-F866-A10C-05BC-B0F5CF7D4FA9}"/>
          </ac:spMkLst>
        </pc:spChg>
        <pc:spChg chg="add del mod">
          <ac:chgData name="Md Fahim Hasan" userId="92968fce-d4dd-4b9e-8635-66a07c9f98a7" providerId="ADAL" clId="{3A6F4128-6482-4C75-8C7D-220A75826C22}" dt="2023-07-21T23:52:09.168" v="14379" actId="478"/>
          <ac:spMkLst>
            <pc:docMk/>
            <pc:sldMk cId="1968008277" sldId="2146846410"/>
            <ac:spMk id="10" creationId="{541A8F3A-F683-BE39-A575-C1BBCF86573E}"/>
          </ac:spMkLst>
        </pc:spChg>
        <pc:spChg chg="mod">
          <ac:chgData name="Md Fahim Hasan" userId="92968fce-d4dd-4b9e-8635-66a07c9f98a7" providerId="ADAL" clId="{3A6F4128-6482-4C75-8C7D-220A75826C22}" dt="2023-07-27T15:51:58.279" v="35706"/>
          <ac:spMkLst>
            <pc:docMk/>
            <pc:sldMk cId="1968008277" sldId="2146846410"/>
            <ac:spMk id="12" creationId="{CA054FAF-ADBE-038A-975C-DE37BB0A3D5F}"/>
          </ac:spMkLst>
        </pc:spChg>
        <pc:spChg chg="add mod">
          <ac:chgData name="Md Fahim Hasan" userId="92968fce-d4dd-4b9e-8635-66a07c9f98a7" providerId="ADAL" clId="{3A6F4128-6482-4C75-8C7D-220A75826C22}" dt="2023-07-27T20:38:52.095" v="38051" actId="1076"/>
          <ac:spMkLst>
            <pc:docMk/>
            <pc:sldMk cId="1968008277" sldId="2146846410"/>
            <ac:spMk id="13" creationId="{24CB8F9A-8CB9-451B-64A8-F41B39D37A3B}"/>
          </ac:spMkLst>
        </pc:spChg>
        <pc:spChg chg="add del mod">
          <ac:chgData name="Md Fahim Hasan" userId="92968fce-d4dd-4b9e-8635-66a07c9f98a7" providerId="ADAL" clId="{3A6F4128-6482-4C75-8C7D-220A75826C22}" dt="2023-07-20T19:30:07.959" v="9770"/>
          <ac:spMkLst>
            <pc:docMk/>
            <pc:sldMk cId="1968008277" sldId="2146846410"/>
            <ac:spMk id="14" creationId="{76ED2831-5A71-D0EE-E2FC-D1F109326476}"/>
          </ac:spMkLst>
        </pc:spChg>
        <pc:spChg chg="add del mod">
          <ac:chgData name="Md Fahim Hasan" userId="92968fce-d4dd-4b9e-8635-66a07c9f98a7" providerId="ADAL" clId="{3A6F4128-6482-4C75-8C7D-220A75826C22}" dt="2023-07-20T19:30:07.959" v="9770"/>
          <ac:spMkLst>
            <pc:docMk/>
            <pc:sldMk cId="1968008277" sldId="2146846410"/>
            <ac:spMk id="15" creationId="{FA716FC8-2CF5-EF70-77E9-0533B1C92855}"/>
          </ac:spMkLst>
        </pc:spChg>
        <pc:spChg chg="add del mod">
          <ac:chgData name="Md Fahim Hasan" userId="92968fce-d4dd-4b9e-8635-66a07c9f98a7" providerId="ADAL" clId="{3A6F4128-6482-4C75-8C7D-220A75826C22}" dt="2023-07-20T19:30:07.959" v="9770"/>
          <ac:spMkLst>
            <pc:docMk/>
            <pc:sldMk cId="1968008277" sldId="2146846410"/>
            <ac:spMk id="16" creationId="{F34B5545-13B2-D050-A86E-3EF0EDE25DB5}"/>
          </ac:spMkLst>
        </pc:spChg>
        <pc:spChg chg="add del mod">
          <ac:chgData name="Md Fahim Hasan" userId="92968fce-d4dd-4b9e-8635-66a07c9f98a7" providerId="ADAL" clId="{3A6F4128-6482-4C75-8C7D-220A75826C22}" dt="2023-07-21T23:52:09.168" v="14379" actId="478"/>
          <ac:spMkLst>
            <pc:docMk/>
            <pc:sldMk cId="1968008277" sldId="2146846410"/>
            <ac:spMk id="20" creationId="{66F7CAE0-B548-7301-BF32-DD2669E691A3}"/>
          </ac:spMkLst>
        </pc:spChg>
        <pc:spChg chg="add del mod">
          <ac:chgData name="Md Fahim Hasan" userId="92968fce-d4dd-4b9e-8635-66a07c9f98a7" providerId="ADAL" clId="{3A6F4128-6482-4C75-8C7D-220A75826C22}" dt="2023-07-21T23:52:09.168" v="14379" actId="478"/>
          <ac:spMkLst>
            <pc:docMk/>
            <pc:sldMk cId="1968008277" sldId="2146846410"/>
            <ac:spMk id="21" creationId="{51D380B0-CC74-AEDB-6958-69A7E14A524E}"/>
          </ac:spMkLst>
        </pc:spChg>
        <pc:spChg chg="add del mod">
          <ac:chgData name="Md Fahim Hasan" userId="92968fce-d4dd-4b9e-8635-66a07c9f98a7" providerId="ADAL" clId="{3A6F4128-6482-4C75-8C7D-220A75826C22}" dt="2023-07-21T23:52:09.168" v="14379" actId="478"/>
          <ac:spMkLst>
            <pc:docMk/>
            <pc:sldMk cId="1968008277" sldId="2146846410"/>
            <ac:spMk id="22" creationId="{DE59A53B-3E9A-6185-CD8A-C7CD6EDE4F4B}"/>
          </ac:spMkLst>
        </pc:spChg>
        <pc:spChg chg="add del">
          <ac:chgData name="Md Fahim Hasan" userId="92968fce-d4dd-4b9e-8635-66a07c9f98a7" providerId="ADAL" clId="{3A6F4128-6482-4C75-8C7D-220A75826C22}" dt="2023-07-21T23:53:54.586" v="14408" actId="26606"/>
          <ac:spMkLst>
            <pc:docMk/>
            <pc:sldMk cId="1968008277" sldId="2146846410"/>
            <ac:spMk id="23" creationId="{09588DA8-065E-4F6F-8EFD-43104AB2E0CF}"/>
          </ac:spMkLst>
        </pc:spChg>
        <pc:spChg chg="add del">
          <ac:chgData name="Md Fahim Hasan" userId="92968fce-d4dd-4b9e-8635-66a07c9f98a7" providerId="ADAL" clId="{3A6F4128-6482-4C75-8C7D-220A75826C22}" dt="2023-07-21T23:53:54.586" v="14408" actId="26606"/>
          <ac:spMkLst>
            <pc:docMk/>
            <pc:sldMk cId="1968008277" sldId="2146846410"/>
            <ac:spMk id="24" creationId="{4300840D-0A0B-4512-BACA-B439D5B9C57C}"/>
          </ac:spMkLst>
        </pc:spChg>
        <pc:spChg chg="add del">
          <ac:chgData name="Md Fahim Hasan" userId="92968fce-d4dd-4b9e-8635-66a07c9f98a7" providerId="ADAL" clId="{3A6F4128-6482-4C75-8C7D-220A75826C22}" dt="2023-07-21T23:53:54.586" v="14408" actId="26606"/>
          <ac:spMkLst>
            <pc:docMk/>
            <pc:sldMk cId="1968008277" sldId="2146846410"/>
            <ac:spMk id="25" creationId="{C4285719-470E-454C-AF62-8323075F1F5B}"/>
          </ac:spMkLst>
        </pc:spChg>
        <pc:spChg chg="add del">
          <ac:chgData name="Md Fahim Hasan" userId="92968fce-d4dd-4b9e-8635-66a07c9f98a7" providerId="ADAL" clId="{3A6F4128-6482-4C75-8C7D-220A75826C22}" dt="2023-07-21T23:53:54.586" v="14408" actId="26606"/>
          <ac:spMkLst>
            <pc:docMk/>
            <pc:sldMk cId="1968008277" sldId="2146846410"/>
            <ac:spMk id="26" creationId="{D2B78728-A580-49A7-84F9-6EF6F583ADE0}"/>
          </ac:spMkLst>
        </pc:spChg>
        <pc:spChg chg="add del">
          <ac:chgData name="Md Fahim Hasan" userId="92968fce-d4dd-4b9e-8635-66a07c9f98a7" providerId="ADAL" clId="{3A6F4128-6482-4C75-8C7D-220A75826C22}" dt="2023-07-21T23:53:54.586" v="14408" actId="26606"/>
          <ac:spMkLst>
            <pc:docMk/>
            <pc:sldMk cId="1968008277" sldId="2146846410"/>
            <ac:spMk id="27" creationId="{CD9FE4EF-C4D8-49A0-B2FF-81D8DB7D8A24}"/>
          </ac:spMkLst>
        </pc:spChg>
        <pc:spChg chg="add del">
          <ac:chgData name="Md Fahim Hasan" userId="92968fce-d4dd-4b9e-8635-66a07c9f98a7" providerId="ADAL" clId="{3A6F4128-6482-4C75-8C7D-220A75826C22}" dt="2023-07-21T23:53:54.586" v="14408" actId="26606"/>
          <ac:spMkLst>
            <pc:docMk/>
            <pc:sldMk cId="1968008277" sldId="2146846410"/>
            <ac:spMk id="28" creationId="{38FAA1A1-D861-433F-88FA-1E9D6FD31D11}"/>
          </ac:spMkLst>
        </pc:spChg>
        <pc:spChg chg="add del">
          <ac:chgData name="Md Fahim Hasan" userId="92968fce-d4dd-4b9e-8635-66a07c9f98a7" providerId="ADAL" clId="{3A6F4128-6482-4C75-8C7D-220A75826C22}" dt="2023-07-21T23:53:54.586" v="14408" actId="26606"/>
          <ac:spMkLst>
            <pc:docMk/>
            <pc:sldMk cId="1968008277" sldId="2146846410"/>
            <ac:spMk id="30" creationId="{8D71EDA1-87BF-4D5D-AB79-F346FD19278A}"/>
          </ac:spMkLst>
        </pc:spChg>
        <pc:picChg chg="add del mod">
          <ac:chgData name="Md Fahim Hasan" userId="92968fce-d4dd-4b9e-8635-66a07c9f98a7" providerId="ADAL" clId="{3A6F4128-6482-4C75-8C7D-220A75826C22}" dt="2023-07-21T23:50:53.390" v="14326" actId="478"/>
          <ac:picMkLst>
            <pc:docMk/>
            <pc:sldMk cId="1968008277" sldId="2146846410"/>
            <ac:picMk id="2" creationId="{42FF6F43-CA16-0AC1-FB2F-BB373AA122A9}"/>
          </ac:picMkLst>
        </pc:picChg>
        <pc:picChg chg="add del mod">
          <ac:chgData name="Md Fahim Hasan" userId="92968fce-d4dd-4b9e-8635-66a07c9f98a7" providerId="ADAL" clId="{3A6F4128-6482-4C75-8C7D-220A75826C22}" dt="2023-07-21T23:50:53.390" v="14326" actId="478"/>
          <ac:picMkLst>
            <pc:docMk/>
            <pc:sldMk cId="1968008277" sldId="2146846410"/>
            <ac:picMk id="3" creationId="{EA8B3C9E-B336-9793-88BA-CA3CF83E1057}"/>
          </ac:picMkLst>
        </pc:picChg>
        <pc:picChg chg="add del mod">
          <ac:chgData name="Md Fahim Hasan" userId="92968fce-d4dd-4b9e-8635-66a07c9f98a7" providerId="ADAL" clId="{3A6F4128-6482-4C75-8C7D-220A75826C22}" dt="2023-07-21T23:50:53.390" v="14326" actId="478"/>
          <ac:picMkLst>
            <pc:docMk/>
            <pc:sldMk cId="1968008277" sldId="2146846410"/>
            <ac:picMk id="4" creationId="{EAA83488-3B9B-F03F-4B4E-4E383CAC4639}"/>
          </ac:picMkLst>
        </pc:picChg>
        <pc:picChg chg="add del mod">
          <ac:chgData name="Md Fahim Hasan" userId="92968fce-d4dd-4b9e-8635-66a07c9f98a7" providerId="ADAL" clId="{3A6F4128-6482-4C75-8C7D-220A75826C22}" dt="2023-07-21T23:50:53.390" v="14326" actId="478"/>
          <ac:picMkLst>
            <pc:docMk/>
            <pc:sldMk cId="1968008277" sldId="2146846410"/>
            <ac:picMk id="5" creationId="{81B756CE-2185-C9E1-755F-FAFF422DB8B1}"/>
          </ac:picMkLst>
        </pc:picChg>
        <pc:picChg chg="add del mod">
          <ac:chgData name="Md Fahim Hasan" userId="92968fce-d4dd-4b9e-8635-66a07c9f98a7" providerId="ADAL" clId="{3A6F4128-6482-4C75-8C7D-220A75826C22}" dt="2023-07-20T19:30:07.959" v="9770"/>
          <ac:picMkLst>
            <pc:docMk/>
            <pc:sldMk cId="1968008277" sldId="2146846410"/>
            <ac:picMk id="11" creationId="{248809DC-6D76-57D1-1E1C-EED2D3B17B19}"/>
          </ac:picMkLst>
        </pc:picChg>
        <pc:picChg chg="add del mod">
          <ac:chgData name="Md Fahim Hasan" userId="92968fce-d4dd-4b9e-8635-66a07c9f98a7" providerId="ADAL" clId="{3A6F4128-6482-4C75-8C7D-220A75826C22}" dt="2023-07-21T23:50:53.390" v="14326" actId="478"/>
          <ac:picMkLst>
            <pc:docMk/>
            <pc:sldMk cId="1968008277" sldId="2146846410"/>
            <ac:picMk id="11" creationId="{66D0F7C0-6D19-48F5-62C3-FDC3CCE89A0F}"/>
          </ac:picMkLst>
        </pc:picChg>
        <pc:picChg chg="add del mod">
          <ac:chgData name="Md Fahim Hasan" userId="92968fce-d4dd-4b9e-8635-66a07c9f98a7" providerId="ADAL" clId="{3A6F4128-6482-4C75-8C7D-220A75826C22}" dt="2023-07-20T19:30:07.959" v="9770"/>
          <ac:picMkLst>
            <pc:docMk/>
            <pc:sldMk cId="1968008277" sldId="2146846410"/>
            <ac:picMk id="12" creationId="{8FAC855B-774E-9FC3-AAD7-8CD0B3556313}"/>
          </ac:picMkLst>
        </pc:picChg>
        <pc:picChg chg="add del mod">
          <ac:chgData name="Md Fahim Hasan" userId="92968fce-d4dd-4b9e-8635-66a07c9f98a7" providerId="ADAL" clId="{3A6F4128-6482-4C75-8C7D-220A75826C22}" dt="2023-07-20T19:30:07.959" v="9770"/>
          <ac:picMkLst>
            <pc:docMk/>
            <pc:sldMk cId="1968008277" sldId="2146846410"/>
            <ac:picMk id="13" creationId="{C12C30F0-7515-0987-3BF5-A41ED7183676}"/>
          </ac:picMkLst>
        </pc:picChg>
        <pc:picChg chg="add del mod">
          <ac:chgData name="Md Fahim Hasan" userId="92968fce-d4dd-4b9e-8635-66a07c9f98a7" providerId="ADAL" clId="{3A6F4128-6482-4C75-8C7D-220A75826C22}" dt="2023-07-20T19:31:17.266" v="9811" actId="478"/>
          <ac:picMkLst>
            <pc:docMk/>
            <pc:sldMk cId="1968008277" sldId="2146846410"/>
            <ac:picMk id="17" creationId="{72DE55BD-20BA-83E6-3A44-E865AADC72C0}"/>
          </ac:picMkLst>
        </pc:picChg>
        <pc:picChg chg="add del mod">
          <ac:chgData name="Md Fahim Hasan" userId="92968fce-d4dd-4b9e-8635-66a07c9f98a7" providerId="ADAL" clId="{3A6F4128-6482-4C75-8C7D-220A75826C22}" dt="2023-07-21T23:50:53.390" v="14326" actId="478"/>
          <ac:picMkLst>
            <pc:docMk/>
            <pc:sldMk cId="1968008277" sldId="2146846410"/>
            <ac:picMk id="18" creationId="{B07D9DD1-FE4F-F3A3-93E2-67F9BB27E0BE}"/>
          </ac:picMkLst>
        </pc:picChg>
        <pc:picChg chg="add del mod">
          <ac:chgData name="Md Fahim Hasan" userId="92968fce-d4dd-4b9e-8635-66a07c9f98a7" providerId="ADAL" clId="{3A6F4128-6482-4C75-8C7D-220A75826C22}" dt="2023-07-20T19:31:31.364" v="9825" actId="478"/>
          <ac:picMkLst>
            <pc:docMk/>
            <pc:sldMk cId="1968008277" sldId="2146846410"/>
            <ac:picMk id="19" creationId="{A5205432-892A-EF83-A1A7-7F6899C6B4D8}"/>
          </ac:picMkLst>
        </pc:picChg>
      </pc:sldChg>
      <pc:sldChg chg="addSp delSp modSp add mod setBg delDesignElem">
        <pc:chgData name="Md Fahim Hasan" userId="92968fce-d4dd-4b9e-8635-66a07c9f98a7" providerId="ADAL" clId="{3A6F4128-6482-4C75-8C7D-220A75826C22}" dt="2023-07-21T14:56:10.384" v="10153" actId="1076"/>
        <pc:sldMkLst>
          <pc:docMk/>
          <pc:sldMk cId="2340966377" sldId="2146846411"/>
        </pc:sldMkLst>
        <pc:spChg chg="add del mod">
          <ac:chgData name="Md Fahim Hasan" userId="92968fce-d4dd-4b9e-8635-66a07c9f98a7" providerId="ADAL" clId="{3A6F4128-6482-4C75-8C7D-220A75826C22}" dt="2023-07-21T14:56:10.384" v="10153" actId="1076"/>
          <ac:spMkLst>
            <pc:docMk/>
            <pc:sldMk cId="2340966377" sldId="2146846411"/>
            <ac:spMk id="2" creationId="{3686BA84-DCD5-9E45-57C1-47E4B920DEDD}"/>
          </ac:spMkLst>
        </pc:spChg>
        <pc:spChg chg="add del">
          <ac:chgData name="Md Fahim Hasan" userId="92968fce-d4dd-4b9e-8635-66a07c9f98a7" providerId="ADAL" clId="{3A6F4128-6482-4C75-8C7D-220A75826C22}" dt="2023-07-21T14:55:28.318" v="10139" actId="478"/>
          <ac:spMkLst>
            <pc:docMk/>
            <pc:sldMk cId="2340966377" sldId="2146846411"/>
            <ac:spMk id="3" creationId="{38F72305-8CA3-1450-F878-0014A899FB3E}"/>
          </ac:spMkLst>
        </pc:spChg>
        <pc:spChg chg="del">
          <ac:chgData name="Md Fahim Hasan" userId="92968fce-d4dd-4b9e-8635-66a07c9f98a7" providerId="ADAL" clId="{3A6F4128-6482-4C75-8C7D-220A75826C22}" dt="2023-07-21T14:55:31.227" v="10141" actId="478"/>
          <ac:spMkLst>
            <pc:docMk/>
            <pc:sldMk cId="2340966377" sldId="2146846411"/>
            <ac:spMk id="5" creationId="{86E3427F-CEA6-580F-2887-D38E7EF0BF56}"/>
          </ac:spMkLst>
        </pc:spChg>
        <pc:spChg chg="add del mod">
          <ac:chgData name="Md Fahim Hasan" userId="92968fce-d4dd-4b9e-8635-66a07c9f98a7" providerId="ADAL" clId="{3A6F4128-6482-4C75-8C7D-220A75826C22}" dt="2023-07-21T14:55:18.846" v="10128" actId="478"/>
          <ac:spMkLst>
            <pc:docMk/>
            <pc:sldMk cId="2340966377" sldId="2146846411"/>
            <ac:spMk id="8" creationId="{C4A3B706-392C-57E0-B2A2-C644195FD42A}"/>
          </ac:spMkLst>
        </pc:spChg>
        <pc:spChg chg="add del mod">
          <ac:chgData name="Md Fahim Hasan" userId="92968fce-d4dd-4b9e-8635-66a07c9f98a7" providerId="ADAL" clId="{3A6F4128-6482-4C75-8C7D-220A75826C22}" dt="2023-07-21T14:55:17.707" v="10126" actId="478"/>
          <ac:spMkLst>
            <pc:docMk/>
            <pc:sldMk cId="2340966377" sldId="2146846411"/>
            <ac:spMk id="10" creationId="{99AF43CA-0178-97FD-C16A-3655DA131AF4}"/>
          </ac:spMkLst>
        </pc:spChg>
        <pc:spChg chg="add del mod">
          <ac:chgData name="Md Fahim Hasan" userId="92968fce-d4dd-4b9e-8635-66a07c9f98a7" providerId="ADAL" clId="{3A6F4128-6482-4C75-8C7D-220A75826C22}" dt="2023-07-21T14:55:33.143" v="10142" actId="478"/>
          <ac:spMkLst>
            <pc:docMk/>
            <pc:sldMk cId="2340966377" sldId="2146846411"/>
            <ac:spMk id="12" creationId="{687FB1C4-6929-43ED-C4F2-086D48B1D716}"/>
          </ac:spMkLst>
        </pc:spChg>
        <pc:spChg chg="del">
          <ac:chgData name="Md Fahim Hasan" userId="92968fce-d4dd-4b9e-8635-66a07c9f98a7" providerId="ADAL" clId="{3A6F4128-6482-4C75-8C7D-220A75826C22}" dt="2023-07-21T14:55:03.683" v="10118"/>
          <ac:spMkLst>
            <pc:docMk/>
            <pc:sldMk cId="2340966377" sldId="2146846411"/>
            <ac:spMk id="31" creationId="{3C54F4CE-85F0-46ED-80DA-9518C9251AD1}"/>
          </ac:spMkLst>
        </pc:spChg>
        <pc:spChg chg="del">
          <ac:chgData name="Md Fahim Hasan" userId="92968fce-d4dd-4b9e-8635-66a07c9f98a7" providerId="ADAL" clId="{3A6F4128-6482-4C75-8C7D-220A75826C22}" dt="2023-07-21T14:55:03.683" v="10118"/>
          <ac:spMkLst>
            <pc:docMk/>
            <pc:sldMk cId="2340966377" sldId="2146846411"/>
            <ac:spMk id="33" creationId="{DADD1FCA-8ACB-4958-81DD-4CDD6D3E1921}"/>
          </ac:spMkLst>
        </pc:spChg>
        <pc:cxnChg chg="add del">
          <ac:chgData name="Md Fahim Hasan" userId="92968fce-d4dd-4b9e-8635-66a07c9f98a7" providerId="ADAL" clId="{3A6F4128-6482-4C75-8C7D-220A75826C22}" dt="2023-07-21T14:55:29.589" v="10140" actId="478"/>
          <ac:cxnSpMkLst>
            <pc:docMk/>
            <pc:sldMk cId="2340966377" sldId="2146846411"/>
            <ac:cxnSpMk id="7" creationId="{B26CD7DE-8844-25E4-E55D-B5BB8971A186}"/>
          </ac:cxnSpMkLst>
        </pc:cxnChg>
      </pc:sldChg>
      <pc:sldChg chg="delSp add del ord setBg delDesignElem">
        <pc:chgData name="Md Fahim Hasan" userId="92968fce-d4dd-4b9e-8635-66a07c9f98a7" providerId="ADAL" clId="{3A6F4128-6482-4C75-8C7D-220A75826C22}" dt="2023-07-21T15:17:47.707" v="10163" actId="47"/>
        <pc:sldMkLst>
          <pc:docMk/>
          <pc:sldMk cId="1502302232" sldId="2146846412"/>
        </pc:sldMkLst>
        <pc:spChg chg="del">
          <ac:chgData name="Md Fahim Hasan" userId="92968fce-d4dd-4b9e-8635-66a07c9f98a7" providerId="ADAL" clId="{3A6F4128-6482-4C75-8C7D-220A75826C22}" dt="2023-07-21T15:17:23.458" v="10160"/>
          <ac:spMkLst>
            <pc:docMk/>
            <pc:sldMk cId="1502302232" sldId="2146846412"/>
            <ac:spMk id="14" creationId="{17718681-A12E-49D6-9925-DD7C68176D61}"/>
          </ac:spMkLst>
        </pc:spChg>
        <pc:spChg chg="del">
          <ac:chgData name="Md Fahim Hasan" userId="92968fce-d4dd-4b9e-8635-66a07c9f98a7" providerId="ADAL" clId="{3A6F4128-6482-4C75-8C7D-220A75826C22}" dt="2023-07-21T15:17:23.458" v="10160"/>
          <ac:spMkLst>
            <pc:docMk/>
            <pc:sldMk cId="1502302232" sldId="2146846412"/>
            <ac:spMk id="16" creationId="{FBD77573-9EF2-4C35-8285-A1CF6FBB0EA5}"/>
          </ac:spMkLst>
        </pc:spChg>
      </pc:sldChg>
      <pc:sldChg chg="modSp add mod">
        <pc:chgData name="Md Fahim Hasan" userId="92968fce-d4dd-4b9e-8635-66a07c9f98a7" providerId="ADAL" clId="{3A6F4128-6482-4C75-8C7D-220A75826C22}" dt="2023-07-27T19:07:52.562" v="37469" actId="11"/>
        <pc:sldMkLst>
          <pc:docMk/>
          <pc:sldMk cId="1983412115" sldId="2146846412"/>
        </pc:sldMkLst>
        <pc:spChg chg="mod">
          <ac:chgData name="Md Fahim Hasan" userId="92968fce-d4dd-4b9e-8635-66a07c9f98a7" providerId="ADAL" clId="{3A6F4128-6482-4C75-8C7D-220A75826C22}" dt="2023-07-27T19:07:52.562" v="37469" actId="11"/>
          <ac:spMkLst>
            <pc:docMk/>
            <pc:sldMk cId="1983412115" sldId="2146846412"/>
            <ac:spMk id="2" creationId="{90C96AA1-6C12-6623-0754-4E4DD20BEE5B}"/>
          </ac:spMkLst>
        </pc:spChg>
        <pc:spChg chg="mod">
          <ac:chgData name="Md Fahim Hasan" userId="92968fce-d4dd-4b9e-8635-66a07c9f98a7" providerId="ADAL" clId="{3A6F4128-6482-4C75-8C7D-220A75826C22}" dt="2023-07-27T15:51:58.279" v="35706"/>
          <ac:spMkLst>
            <pc:docMk/>
            <pc:sldMk cId="1983412115" sldId="2146846412"/>
            <ac:spMk id="3" creationId="{7B6B92E1-2AB9-FE4E-E2F4-AE076BC2F1C6}"/>
          </ac:spMkLst>
        </pc:spChg>
        <pc:spChg chg="mod">
          <ac:chgData name="Md Fahim Hasan" userId="92968fce-d4dd-4b9e-8635-66a07c9f98a7" providerId="ADAL" clId="{3A6F4128-6482-4C75-8C7D-220A75826C22}" dt="2023-07-27T00:35:26.944" v="33904" actId="1076"/>
          <ac:spMkLst>
            <pc:docMk/>
            <pc:sldMk cId="1983412115" sldId="2146846412"/>
            <ac:spMk id="9" creationId="{DCE765C9-F866-A10C-05BC-B0F5CF7D4FA9}"/>
          </ac:spMkLst>
        </pc:spChg>
      </pc:sldChg>
      <pc:sldChg chg="delSp add del mod">
        <pc:chgData name="Md Fahim Hasan" userId="92968fce-d4dd-4b9e-8635-66a07c9f98a7" providerId="ADAL" clId="{3A6F4128-6482-4C75-8C7D-220A75826C22}" dt="2023-07-21T15:57:37.245" v="11027" actId="47"/>
        <pc:sldMkLst>
          <pc:docMk/>
          <pc:sldMk cId="1827202305" sldId="2146846413"/>
        </pc:sldMkLst>
        <pc:spChg chg="del">
          <ac:chgData name="Md Fahim Hasan" userId="92968fce-d4dd-4b9e-8635-66a07c9f98a7" providerId="ADAL" clId="{3A6F4128-6482-4C75-8C7D-220A75826C22}" dt="2023-07-21T15:57:34.643" v="11026" actId="478"/>
          <ac:spMkLst>
            <pc:docMk/>
            <pc:sldMk cId="1827202305" sldId="2146846413"/>
            <ac:spMk id="9" creationId="{DCE765C9-F866-A10C-05BC-B0F5CF7D4FA9}"/>
          </ac:spMkLst>
        </pc:spChg>
      </pc:sldChg>
      <pc:sldChg chg="addSp delSp modSp add del mod setBg delDesignElem">
        <pc:chgData name="Md Fahim Hasan" userId="92968fce-d4dd-4b9e-8635-66a07c9f98a7" providerId="ADAL" clId="{3A6F4128-6482-4C75-8C7D-220A75826C22}" dt="2023-07-21T16:02:49.744" v="11126" actId="47"/>
        <pc:sldMkLst>
          <pc:docMk/>
          <pc:sldMk cId="3137985876" sldId="2146846413"/>
        </pc:sldMkLst>
        <pc:spChg chg="add del mod">
          <ac:chgData name="Md Fahim Hasan" userId="92968fce-d4dd-4b9e-8635-66a07c9f98a7" providerId="ADAL" clId="{3A6F4128-6482-4C75-8C7D-220A75826C22}" dt="2023-07-21T15:58:47.228" v="11045" actId="478"/>
          <ac:spMkLst>
            <pc:docMk/>
            <pc:sldMk cId="3137985876" sldId="2146846413"/>
            <ac:spMk id="2" creationId="{E7A54C93-812A-0D67-6587-1FC6A2252270}"/>
          </ac:spMkLst>
        </pc:spChg>
        <pc:spChg chg="add mod">
          <ac:chgData name="Md Fahim Hasan" userId="92968fce-d4dd-4b9e-8635-66a07c9f98a7" providerId="ADAL" clId="{3A6F4128-6482-4C75-8C7D-220A75826C22}" dt="2023-07-21T15:59:48.455" v="11070" actId="20577"/>
          <ac:spMkLst>
            <pc:docMk/>
            <pc:sldMk cId="3137985876" sldId="2146846413"/>
            <ac:spMk id="4" creationId="{F39B5902-B0C8-37BF-AE84-8ACC56469246}"/>
          </ac:spMkLst>
        </pc:spChg>
        <pc:spChg chg="del">
          <ac:chgData name="Md Fahim Hasan" userId="92968fce-d4dd-4b9e-8635-66a07c9f98a7" providerId="ADAL" clId="{3A6F4128-6482-4C75-8C7D-220A75826C22}" dt="2023-07-21T15:57:47.170" v="11032" actId="478"/>
          <ac:spMkLst>
            <pc:docMk/>
            <pc:sldMk cId="3137985876" sldId="2146846413"/>
            <ac:spMk id="5" creationId="{6B0E3D4A-AE11-4EEE-47A3-F08F39D0D674}"/>
          </ac:spMkLst>
        </pc:spChg>
        <pc:spChg chg="del">
          <ac:chgData name="Md Fahim Hasan" userId="92968fce-d4dd-4b9e-8635-66a07c9f98a7" providerId="ADAL" clId="{3A6F4128-6482-4C75-8C7D-220A75826C22}" dt="2023-07-21T15:57:43.793" v="11030" actId="478"/>
          <ac:spMkLst>
            <pc:docMk/>
            <pc:sldMk cId="3137985876" sldId="2146846413"/>
            <ac:spMk id="9" creationId="{DCE765C9-F866-A10C-05BC-B0F5CF7D4FA9}"/>
          </ac:spMkLst>
        </pc:spChg>
        <pc:spChg chg="del">
          <ac:chgData name="Md Fahim Hasan" userId="92968fce-d4dd-4b9e-8635-66a07c9f98a7" providerId="ADAL" clId="{3A6F4128-6482-4C75-8C7D-220A75826C22}" dt="2023-07-21T15:57:40.500" v="11029"/>
          <ac:spMkLst>
            <pc:docMk/>
            <pc:sldMk cId="3137985876" sldId="2146846413"/>
            <ac:spMk id="14" creationId="{17718681-A12E-49D6-9925-DD7C68176D61}"/>
          </ac:spMkLst>
        </pc:spChg>
        <pc:spChg chg="del">
          <ac:chgData name="Md Fahim Hasan" userId="92968fce-d4dd-4b9e-8635-66a07c9f98a7" providerId="ADAL" clId="{3A6F4128-6482-4C75-8C7D-220A75826C22}" dt="2023-07-21T15:57:40.500" v="11029"/>
          <ac:spMkLst>
            <pc:docMk/>
            <pc:sldMk cId="3137985876" sldId="2146846413"/>
            <ac:spMk id="16" creationId="{FBD77573-9EF2-4C35-8285-A1CF6FBB0EA5}"/>
          </ac:spMkLst>
        </pc:spChg>
        <pc:picChg chg="del">
          <ac:chgData name="Md Fahim Hasan" userId="92968fce-d4dd-4b9e-8635-66a07c9f98a7" providerId="ADAL" clId="{3A6F4128-6482-4C75-8C7D-220A75826C22}" dt="2023-07-21T15:57:45.129" v="11031" actId="478"/>
          <ac:picMkLst>
            <pc:docMk/>
            <pc:sldMk cId="3137985876" sldId="2146846413"/>
            <ac:picMk id="15" creationId="{B0F7B2C1-02FD-AB52-1E28-5A1C0EE1123A}"/>
          </ac:picMkLst>
        </pc:picChg>
      </pc:sldChg>
      <pc:sldChg chg="addSp delSp add del setBg delDesignElem">
        <pc:chgData name="Md Fahim Hasan" userId="92968fce-d4dd-4b9e-8635-66a07c9f98a7" providerId="ADAL" clId="{3A6F4128-6482-4C75-8C7D-220A75826C22}" dt="2023-07-21T15:59:39.200" v="11067"/>
        <pc:sldMkLst>
          <pc:docMk/>
          <pc:sldMk cId="911563943" sldId="2146846414"/>
        </pc:sldMkLst>
        <pc:spChg chg="add del">
          <ac:chgData name="Md Fahim Hasan" userId="92968fce-d4dd-4b9e-8635-66a07c9f98a7" providerId="ADAL" clId="{3A6F4128-6482-4C75-8C7D-220A75826C22}" dt="2023-07-21T15:59:39.200" v="11067"/>
          <ac:spMkLst>
            <pc:docMk/>
            <pc:sldMk cId="911563943" sldId="2146846414"/>
            <ac:spMk id="14" creationId="{17718681-A12E-49D6-9925-DD7C68176D61}"/>
          </ac:spMkLst>
        </pc:spChg>
        <pc:spChg chg="add del">
          <ac:chgData name="Md Fahim Hasan" userId="92968fce-d4dd-4b9e-8635-66a07c9f98a7" providerId="ADAL" clId="{3A6F4128-6482-4C75-8C7D-220A75826C22}" dt="2023-07-21T15:59:39.200" v="11067"/>
          <ac:spMkLst>
            <pc:docMk/>
            <pc:sldMk cId="911563943" sldId="2146846414"/>
            <ac:spMk id="16" creationId="{FBD77573-9EF2-4C35-8285-A1CF6FBB0EA5}"/>
          </ac:spMkLst>
        </pc:spChg>
      </pc:sldChg>
      <pc:sldChg chg="addSp delSp modSp add mod setBg setClrOvrMap delDesignElem">
        <pc:chgData name="Md Fahim Hasan" userId="92968fce-d4dd-4b9e-8635-66a07c9f98a7" providerId="ADAL" clId="{3A6F4128-6482-4C75-8C7D-220A75826C22}" dt="2023-07-27T15:55:56.076" v="35739"/>
        <pc:sldMkLst>
          <pc:docMk/>
          <pc:sldMk cId="2150827024" sldId="2146846414"/>
        </pc:sldMkLst>
        <pc:spChg chg="mod">
          <ac:chgData name="Md Fahim Hasan" userId="92968fce-d4dd-4b9e-8635-66a07c9f98a7" providerId="ADAL" clId="{3A6F4128-6482-4C75-8C7D-220A75826C22}" dt="2023-07-27T15:51:58.279" v="35706"/>
          <ac:spMkLst>
            <pc:docMk/>
            <pc:sldMk cId="2150827024" sldId="2146846414"/>
            <ac:spMk id="2" creationId="{019A87F5-EE45-8C3C-1DEA-E953C11457DE}"/>
          </ac:spMkLst>
        </pc:spChg>
        <pc:spChg chg="del">
          <ac:chgData name="Md Fahim Hasan" userId="92968fce-d4dd-4b9e-8635-66a07c9f98a7" providerId="ADAL" clId="{3A6F4128-6482-4C75-8C7D-220A75826C22}" dt="2023-07-21T16:00:48.228" v="11089" actId="478"/>
          <ac:spMkLst>
            <pc:docMk/>
            <pc:sldMk cId="2150827024" sldId="2146846414"/>
            <ac:spMk id="5" creationId="{6B0E3D4A-AE11-4EEE-47A3-F08F39D0D674}"/>
          </ac:spMkLst>
        </pc:spChg>
        <pc:spChg chg="mod">
          <ac:chgData name="Md Fahim Hasan" userId="92968fce-d4dd-4b9e-8635-66a07c9f98a7" providerId="ADAL" clId="{3A6F4128-6482-4C75-8C7D-220A75826C22}" dt="2023-07-27T15:55:24.701" v="35733" actId="115"/>
          <ac:spMkLst>
            <pc:docMk/>
            <pc:sldMk cId="2150827024" sldId="2146846414"/>
            <ac:spMk id="9" creationId="{DCE765C9-F866-A10C-05BC-B0F5CF7D4FA9}"/>
          </ac:spMkLst>
        </pc:spChg>
        <pc:spChg chg="del">
          <ac:chgData name="Md Fahim Hasan" userId="92968fce-d4dd-4b9e-8635-66a07c9f98a7" providerId="ADAL" clId="{3A6F4128-6482-4C75-8C7D-220A75826C22}" dt="2023-07-21T16:00:30.699" v="11074"/>
          <ac:spMkLst>
            <pc:docMk/>
            <pc:sldMk cId="2150827024" sldId="2146846414"/>
            <ac:spMk id="14" creationId="{17718681-A12E-49D6-9925-DD7C68176D61}"/>
          </ac:spMkLst>
        </pc:spChg>
        <pc:spChg chg="del">
          <ac:chgData name="Md Fahim Hasan" userId="92968fce-d4dd-4b9e-8635-66a07c9f98a7" providerId="ADAL" clId="{3A6F4128-6482-4C75-8C7D-220A75826C22}" dt="2023-07-21T16:00:30.699" v="11074"/>
          <ac:spMkLst>
            <pc:docMk/>
            <pc:sldMk cId="2150827024" sldId="2146846414"/>
            <ac:spMk id="16" creationId="{FBD77573-9EF2-4C35-8285-A1CF6FBB0EA5}"/>
          </ac:spMkLst>
        </pc:spChg>
        <pc:spChg chg="add del">
          <ac:chgData name="Md Fahim Hasan" userId="92968fce-d4dd-4b9e-8635-66a07c9f98a7" providerId="ADAL" clId="{3A6F4128-6482-4C75-8C7D-220A75826C22}" dt="2023-07-21T16:01:12.594" v="11091" actId="26606"/>
          <ac:spMkLst>
            <pc:docMk/>
            <pc:sldMk cId="2150827024" sldId="2146846414"/>
            <ac:spMk id="20" creationId="{66B332A4-D438-4773-A77F-5ED49A448D9D}"/>
          </ac:spMkLst>
        </pc:spChg>
        <pc:spChg chg="add del">
          <ac:chgData name="Md Fahim Hasan" userId="92968fce-d4dd-4b9e-8635-66a07c9f98a7" providerId="ADAL" clId="{3A6F4128-6482-4C75-8C7D-220A75826C22}" dt="2023-07-21T16:01:12.594" v="11091" actId="26606"/>
          <ac:spMkLst>
            <pc:docMk/>
            <pc:sldMk cId="2150827024" sldId="2146846414"/>
            <ac:spMk id="22" creationId="{DF9AD32D-FF05-44F4-BD4D-9CEE89B71EB9}"/>
          </ac:spMkLst>
        </pc:spChg>
        <pc:spChg chg="add del">
          <ac:chgData name="Md Fahim Hasan" userId="92968fce-d4dd-4b9e-8635-66a07c9f98a7" providerId="ADAL" clId="{3A6F4128-6482-4C75-8C7D-220A75826C22}" dt="2023-07-21T16:01:13.747" v="11093" actId="26606"/>
          <ac:spMkLst>
            <pc:docMk/>
            <pc:sldMk cId="2150827024" sldId="2146846414"/>
            <ac:spMk id="32" creationId="{A8DB9CD9-59B1-4D73-BC4C-98796A48EF9B}"/>
          </ac:spMkLst>
        </pc:spChg>
        <pc:spChg chg="add del">
          <ac:chgData name="Md Fahim Hasan" userId="92968fce-d4dd-4b9e-8635-66a07c9f98a7" providerId="ADAL" clId="{3A6F4128-6482-4C75-8C7D-220A75826C22}" dt="2023-07-21T16:01:13.747" v="11093" actId="26606"/>
          <ac:spMkLst>
            <pc:docMk/>
            <pc:sldMk cId="2150827024" sldId="2146846414"/>
            <ac:spMk id="33" creationId="{8874A6A9-41FF-4E33-AFA8-F9F81436A59E}"/>
          </ac:spMkLst>
        </pc:spChg>
        <pc:spChg chg="add del">
          <ac:chgData name="Md Fahim Hasan" userId="92968fce-d4dd-4b9e-8635-66a07c9f98a7" providerId="ADAL" clId="{3A6F4128-6482-4C75-8C7D-220A75826C22}" dt="2023-07-21T16:01:18.128" v="11095" actId="26606"/>
          <ac:spMkLst>
            <pc:docMk/>
            <pc:sldMk cId="2150827024" sldId="2146846414"/>
            <ac:spMk id="35" creationId="{FFD48BC7-DC40-47DE-87EE-9F4B6ECB9ABB}"/>
          </ac:spMkLst>
        </pc:spChg>
        <pc:spChg chg="add del">
          <ac:chgData name="Md Fahim Hasan" userId="92968fce-d4dd-4b9e-8635-66a07c9f98a7" providerId="ADAL" clId="{3A6F4128-6482-4C75-8C7D-220A75826C22}" dt="2023-07-21T16:01:18.128" v="11095" actId="26606"/>
          <ac:spMkLst>
            <pc:docMk/>
            <pc:sldMk cId="2150827024" sldId="2146846414"/>
            <ac:spMk id="36" creationId="{E502BBC7-2C76-46F3-BC24-5985BC13DB88}"/>
          </ac:spMkLst>
        </pc:spChg>
        <pc:spChg chg="add del">
          <ac:chgData name="Md Fahim Hasan" userId="92968fce-d4dd-4b9e-8635-66a07c9f98a7" providerId="ADAL" clId="{3A6F4128-6482-4C75-8C7D-220A75826C22}" dt="2023-07-21T16:01:18.128" v="11095" actId="26606"/>
          <ac:spMkLst>
            <pc:docMk/>
            <pc:sldMk cId="2150827024" sldId="2146846414"/>
            <ac:spMk id="37" creationId="{C7F28D52-2A5F-4D23-81AE-7CB8B591C7AF}"/>
          </ac:spMkLst>
        </pc:spChg>
        <pc:spChg chg="add del">
          <ac:chgData name="Md Fahim Hasan" userId="92968fce-d4dd-4b9e-8635-66a07c9f98a7" providerId="ADAL" clId="{3A6F4128-6482-4C75-8C7D-220A75826C22}" dt="2023-07-21T16:01:18.128" v="11095" actId="26606"/>
          <ac:spMkLst>
            <pc:docMk/>
            <pc:sldMk cId="2150827024" sldId="2146846414"/>
            <ac:spMk id="38" creationId="{3629484E-3792-4B3D-89AD-7C8A1ED0E0D4}"/>
          </ac:spMkLst>
        </pc:spChg>
        <pc:spChg chg="add del">
          <ac:chgData name="Md Fahim Hasan" userId="92968fce-d4dd-4b9e-8635-66a07c9f98a7" providerId="ADAL" clId="{3A6F4128-6482-4C75-8C7D-220A75826C22}" dt="2023-07-21T16:01:22.593" v="11097" actId="26606"/>
          <ac:spMkLst>
            <pc:docMk/>
            <pc:sldMk cId="2150827024" sldId="2146846414"/>
            <ac:spMk id="40" creationId="{73A25D70-4A55-4F72-B9C5-A69CDBF4DB42}"/>
          </ac:spMkLst>
        </pc:spChg>
        <pc:spChg chg="add del">
          <ac:chgData name="Md Fahim Hasan" userId="92968fce-d4dd-4b9e-8635-66a07c9f98a7" providerId="ADAL" clId="{3A6F4128-6482-4C75-8C7D-220A75826C22}" dt="2023-07-21T16:01:22.593" v="11097" actId="26606"/>
          <ac:spMkLst>
            <pc:docMk/>
            <pc:sldMk cId="2150827024" sldId="2146846414"/>
            <ac:spMk id="41" creationId="{54957100-6D8B-4161-9F2F-C0A949EC84C4}"/>
          </ac:spMkLst>
        </pc:spChg>
        <pc:spChg chg="add del">
          <ac:chgData name="Md Fahim Hasan" userId="92968fce-d4dd-4b9e-8635-66a07c9f98a7" providerId="ADAL" clId="{3A6F4128-6482-4C75-8C7D-220A75826C22}" dt="2023-07-21T16:01:22.593" v="11097" actId="26606"/>
          <ac:spMkLst>
            <pc:docMk/>
            <pc:sldMk cId="2150827024" sldId="2146846414"/>
            <ac:spMk id="42" creationId="{0BD8B065-EE51-4AE2-A94C-86249998FD7B}"/>
          </ac:spMkLst>
        </pc:spChg>
        <pc:spChg chg="add del">
          <ac:chgData name="Md Fahim Hasan" userId="92968fce-d4dd-4b9e-8635-66a07c9f98a7" providerId="ADAL" clId="{3A6F4128-6482-4C75-8C7D-220A75826C22}" dt="2023-07-21T16:01:23.106" v="11099" actId="26606"/>
          <ac:spMkLst>
            <pc:docMk/>
            <pc:sldMk cId="2150827024" sldId="2146846414"/>
            <ac:spMk id="48" creationId="{54A6836E-C603-43CB-9DA7-89D8E3FA3838}"/>
          </ac:spMkLst>
        </pc:spChg>
        <pc:spChg chg="add del">
          <ac:chgData name="Md Fahim Hasan" userId="92968fce-d4dd-4b9e-8635-66a07c9f98a7" providerId="ADAL" clId="{3A6F4128-6482-4C75-8C7D-220A75826C22}" dt="2023-07-21T16:01:23.106" v="11099" actId="26606"/>
          <ac:spMkLst>
            <pc:docMk/>
            <pc:sldMk cId="2150827024" sldId="2146846414"/>
            <ac:spMk id="49" creationId="{296007DD-F9BF-4F0F-B8C6-C514B2841971}"/>
          </ac:spMkLst>
        </pc:spChg>
        <pc:spChg chg="add del">
          <ac:chgData name="Md Fahim Hasan" userId="92968fce-d4dd-4b9e-8635-66a07c9f98a7" providerId="ADAL" clId="{3A6F4128-6482-4C75-8C7D-220A75826C22}" dt="2023-07-21T16:01:24.314" v="11101" actId="26606"/>
          <ac:spMkLst>
            <pc:docMk/>
            <pc:sldMk cId="2150827024" sldId="2146846414"/>
            <ac:spMk id="59" creationId="{934F1179-B481-4F9E-BCA3-AFB972070F83}"/>
          </ac:spMkLst>
        </pc:spChg>
        <pc:spChg chg="add del">
          <ac:chgData name="Md Fahim Hasan" userId="92968fce-d4dd-4b9e-8635-66a07c9f98a7" providerId="ADAL" clId="{3A6F4128-6482-4C75-8C7D-220A75826C22}" dt="2023-07-21T16:01:24.314" v="11101" actId="26606"/>
          <ac:spMkLst>
            <pc:docMk/>
            <pc:sldMk cId="2150827024" sldId="2146846414"/>
            <ac:spMk id="60" creationId="{827DC2C4-B485-428A-BF4A-472D2967F47F}"/>
          </ac:spMkLst>
        </pc:spChg>
        <pc:spChg chg="add del">
          <ac:chgData name="Md Fahim Hasan" userId="92968fce-d4dd-4b9e-8635-66a07c9f98a7" providerId="ADAL" clId="{3A6F4128-6482-4C75-8C7D-220A75826C22}" dt="2023-07-21T16:01:24.314" v="11101" actId="26606"/>
          <ac:spMkLst>
            <pc:docMk/>
            <pc:sldMk cId="2150827024" sldId="2146846414"/>
            <ac:spMk id="61" creationId="{EE04B5EB-F158-4507-90DD-BD23620C7CC9}"/>
          </ac:spMkLst>
        </pc:spChg>
        <pc:spChg chg="add del">
          <ac:chgData name="Md Fahim Hasan" userId="92968fce-d4dd-4b9e-8635-66a07c9f98a7" providerId="ADAL" clId="{3A6F4128-6482-4C75-8C7D-220A75826C22}" dt="2023-07-21T16:01:28.523" v="11103" actId="26606"/>
          <ac:spMkLst>
            <pc:docMk/>
            <pc:sldMk cId="2150827024" sldId="2146846414"/>
            <ac:spMk id="63" creationId="{5A292AEA-2528-46C0-B426-95822B6141FB}"/>
          </ac:spMkLst>
        </pc:spChg>
        <pc:spChg chg="add del">
          <ac:chgData name="Md Fahim Hasan" userId="92968fce-d4dd-4b9e-8635-66a07c9f98a7" providerId="ADAL" clId="{3A6F4128-6482-4C75-8C7D-220A75826C22}" dt="2023-07-21T16:01:28.523" v="11103" actId="26606"/>
          <ac:spMkLst>
            <pc:docMk/>
            <pc:sldMk cId="2150827024" sldId="2146846414"/>
            <ac:spMk id="64" creationId="{D8B7B198-E4DF-43CD-AD8C-199884323745}"/>
          </ac:spMkLst>
        </pc:spChg>
        <pc:spChg chg="add del">
          <ac:chgData name="Md Fahim Hasan" userId="92968fce-d4dd-4b9e-8635-66a07c9f98a7" providerId="ADAL" clId="{3A6F4128-6482-4C75-8C7D-220A75826C22}" dt="2023-07-21T16:01:28.523" v="11103" actId="26606"/>
          <ac:spMkLst>
            <pc:docMk/>
            <pc:sldMk cId="2150827024" sldId="2146846414"/>
            <ac:spMk id="65" creationId="{2BE67753-EA0E-4819-8D22-0B6600CF7231}"/>
          </ac:spMkLst>
        </pc:spChg>
        <pc:spChg chg="add del">
          <ac:chgData name="Md Fahim Hasan" userId="92968fce-d4dd-4b9e-8635-66a07c9f98a7" providerId="ADAL" clId="{3A6F4128-6482-4C75-8C7D-220A75826C22}" dt="2023-07-21T16:01:32.494" v="11105" actId="26606"/>
          <ac:spMkLst>
            <pc:docMk/>
            <pc:sldMk cId="2150827024" sldId="2146846414"/>
            <ac:spMk id="77" creationId="{3AC75B1D-4749-49A1-8553-FD296DD7CC9F}"/>
          </ac:spMkLst>
        </pc:spChg>
        <pc:spChg chg="add del">
          <ac:chgData name="Md Fahim Hasan" userId="92968fce-d4dd-4b9e-8635-66a07c9f98a7" providerId="ADAL" clId="{3A6F4128-6482-4C75-8C7D-220A75826C22}" dt="2023-07-21T16:01:32.494" v="11105" actId="26606"/>
          <ac:spMkLst>
            <pc:docMk/>
            <pc:sldMk cId="2150827024" sldId="2146846414"/>
            <ac:spMk id="78" creationId="{9A8ECCF6-3858-46C9-8F9F-C06506CC3F9F}"/>
          </ac:spMkLst>
        </pc:spChg>
        <pc:spChg chg="add del">
          <ac:chgData name="Md Fahim Hasan" userId="92968fce-d4dd-4b9e-8635-66a07c9f98a7" providerId="ADAL" clId="{3A6F4128-6482-4C75-8C7D-220A75826C22}" dt="2023-07-27T15:51:58.279" v="35706"/>
          <ac:spMkLst>
            <pc:docMk/>
            <pc:sldMk cId="2150827024" sldId="2146846414"/>
            <ac:spMk id="80" creationId="{35F60170-91B4-45F0-B88B-9C07AEC4642C}"/>
          </ac:spMkLst>
        </pc:spChg>
        <pc:spChg chg="add del">
          <ac:chgData name="Md Fahim Hasan" userId="92968fce-d4dd-4b9e-8635-66a07c9f98a7" providerId="ADAL" clId="{3A6F4128-6482-4C75-8C7D-220A75826C22}" dt="2023-07-27T15:51:58.279" v="35706"/>
          <ac:spMkLst>
            <pc:docMk/>
            <pc:sldMk cId="2150827024" sldId="2146846414"/>
            <ac:spMk id="81" creationId="{2C7D7C94-41C0-4614-8A18-941174D4D2AF}"/>
          </ac:spMkLst>
        </pc:spChg>
        <pc:grpChg chg="add del">
          <ac:chgData name="Md Fahim Hasan" userId="92968fce-d4dd-4b9e-8635-66a07c9f98a7" providerId="ADAL" clId="{3A6F4128-6482-4C75-8C7D-220A75826C22}" dt="2023-07-21T16:01:13.747" v="11093" actId="26606"/>
          <ac:grpSpMkLst>
            <pc:docMk/>
            <pc:sldMk cId="2150827024" sldId="2146846414"/>
            <ac:grpSpMk id="24" creationId="{721D730E-1F97-4071-B143-B05E6D2599BC}"/>
          </ac:grpSpMkLst>
        </pc:grpChg>
        <pc:grpChg chg="add del">
          <ac:chgData name="Md Fahim Hasan" userId="92968fce-d4dd-4b9e-8635-66a07c9f98a7" providerId="ADAL" clId="{3A6F4128-6482-4C75-8C7D-220A75826C22}" dt="2023-07-21T16:01:22.593" v="11097" actId="26606"/>
          <ac:grpSpMkLst>
            <pc:docMk/>
            <pc:sldMk cId="2150827024" sldId="2146846414"/>
            <ac:grpSpMk id="26" creationId="{18999293-B054-4B57-A26F-D04C2BB11338}"/>
          </ac:grpSpMkLst>
        </pc:grpChg>
        <pc:grpChg chg="add del">
          <ac:chgData name="Md Fahim Hasan" userId="92968fce-d4dd-4b9e-8635-66a07c9f98a7" providerId="ADAL" clId="{3A6F4128-6482-4C75-8C7D-220A75826C22}" dt="2023-07-27T15:51:58.279" v="35706"/>
          <ac:grpSpMkLst>
            <pc:docMk/>
            <pc:sldMk cId="2150827024" sldId="2146846414"/>
            <ac:grpSpMk id="28" creationId="{65B3D45F-509E-43F3-B685-A5E78AD0D820}"/>
          </ac:grpSpMkLst>
        </pc:grpChg>
        <pc:grpChg chg="add del">
          <ac:chgData name="Md Fahim Hasan" userId="92968fce-d4dd-4b9e-8635-66a07c9f98a7" providerId="ADAL" clId="{3A6F4128-6482-4C75-8C7D-220A75826C22}" dt="2023-07-21T16:01:22.593" v="11097" actId="26606"/>
          <ac:grpSpMkLst>
            <pc:docMk/>
            <pc:sldMk cId="2150827024" sldId="2146846414"/>
            <ac:grpSpMk id="43" creationId="{761945C4-D997-42F3-B59A-984CF0066715}"/>
          </ac:grpSpMkLst>
        </pc:grpChg>
        <pc:grpChg chg="add del">
          <ac:chgData name="Md Fahim Hasan" userId="92968fce-d4dd-4b9e-8635-66a07c9f98a7" providerId="ADAL" clId="{3A6F4128-6482-4C75-8C7D-220A75826C22}" dt="2023-07-21T16:01:23.106" v="11099" actId="26606"/>
          <ac:grpSpMkLst>
            <pc:docMk/>
            <pc:sldMk cId="2150827024" sldId="2146846414"/>
            <ac:grpSpMk id="50" creationId="{8A0FAFCA-5C96-453B-83B7-A9AEF7F18960}"/>
          </ac:grpSpMkLst>
        </pc:grpChg>
        <pc:grpChg chg="add del">
          <ac:chgData name="Md Fahim Hasan" userId="92968fce-d4dd-4b9e-8635-66a07c9f98a7" providerId="ADAL" clId="{3A6F4128-6482-4C75-8C7D-220A75826C22}" dt="2023-07-21T16:01:23.106" v="11099" actId="26606"/>
          <ac:grpSpMkLst>
            <pc:docMk/>
            <pc:sldMk cId="2150827024" sldId="2146846414"/>
            <ac:grpSpMk id="54" creationId="{CD0398DD-AD75-4E2B-A3C6-35073082A8B4}"/>
          </ac:grpSpMkLst>
        </pc:grpChg>
        <pc:grpChg chg="add del">
          <ac:chgData name="Md Fahim Hasan" userId="92968fce-d4dd-4b9e-8635-66a07c9f98a7" providerId="ADAL" clId="{3A6F4128-6482-4C75-8C7D-220A75826C22}" dt="2023-07-21T16:01:28.523" v="11103" actId="26606"/>
          <ac:grpSpMkLst>
            <pc:docMk/>
            <pc:sldMk cId="2150827024" sldId="2146846414"/>
            <ac:grpSpMk id="66" creationId="{D76D63AC-0421-45EC-B383-E79A61A78C6B}"/>
          </ac:grpSpMkLst>
        </pc:grpChg>
        <pc:grpChg chg="add del">
          <ac:chgData name="Md Fahim Hasan" userId="92968fce-d4dd-4b9e-8635-66a07c9f98a7" providerId="ADAL" clId="{3A6F4128-6482-4C75-8C7D-220A75826C22}" dt="2023-07-21T16:01:28.523" v="11103" actId="26606"/>
          <ac:grpSpMkLst>
            <pc:docMk/>
            <pc:sldMk cId="2150827024" sldId="2146846414"/>
            <ac:grpSpMk id="69" creationId="{87F87F1B-42BA-4AC7-A4E2-41544DDB2CE3}"/>
          </ac:grpSpMkLst>
        </pc:grpChg>
        <pc:grpChg chg="add del">
          <ac:chgData name="Md Fahim Hasan" userId="92968fce-d4dd-4b9e-8635-66a07c9f98a7" providerId="ADAL" clId="{3A6F4128-6482-4C75-8C7D-220A75826C22}" dt="2023-07-21T16:01:28.523" v="11103" actId="26606"/>
          <ac:grpSpMkLst>
            <pc:docMk/>
            <pc:sldMk cId="2150827024" sldId="2146846414"/>
            <ac:grpSpMk id="73" creationId="{967346A5-7569-4F15-AB5D-BE3DADF192C0}"/>
          </ac:grpSpMkLst>
        </pc:grpChg>
        <pc:picChg chg="del">
          <ac:chgData name="Md Fahim Hasan" userId="92968fce-d4dd-4b9e-8635-66a07c9f98a7" providerId="ADAL" clId="{3A6F4128-6482-4C75-8C7D-220A75826C22}" dt="2023-07-27T15:53:23.206" v="35718" actId="478"/>
          <ac:picMkLst>
            <pc:docMk/>
            <pc:sldMk cId="2150827024" sldId="2146846414"/>
            <ac:picMk id="15" creationId="{B0F7B2C1-02FD-AB52-1E28-5A1C0EE1123A}"/>
          </ac:picMkLst>
        </pc:picChg>
        <pc:cxnChg chg="add mod">
          <ac:chgData name="Md Fahim Hasan" userId="92968fce-d4dd-4b9e-8635-66a07c9f98a7" providerId="ADAL" clId="{3A6F4128-6482-4C75-8C7D-220A75826C22}" dt="2023-07-27T15:55:56.076" v="35739"/>
          <ac:cxnSpMkLst>
            <pc:docMk/>
            <pc:sldMk cId="2150827024" sldId="2146846414"/>
            <ac:cxnSpMk id="3" creationId="{7273D0A7-41A2-E613-710D-6DA59FD2EF65}"/>
          </ac:cxnSpMkLst>
        </pc:cxnChg>
        <pc:cxnChg chg="add del">
          <ac:chgData name="Md Fahim Hasan" userId="92968fce-d4dd-4b9e-8635-66a07c9f98a7" providerId="ADAL" clId="{3A6F4128-6482-4C75-8C7D-220A75826C22}" dt="2023-07-27T15:51:58.279" v="35706"/>
          <ac:cxnSpMkLst>
            <pc:docMk/>
            <pc:sldMk cId="2150827024" sldId="2146846414"/>
            <ac:cxnSpMk id="82" creationId="{61F6FBC1-6409-4059-B87B-1BE513242FE6}"/>
          </ac:cxnSpMkLst>
        </pc:cxnChg>
        <pc:cxnChg chg="add del">
          <ac:chgData name="Md Fahim Hasan" userId="92968fce-d4dd-4b9e-8635-66a07c9f98a7" providerId="ADAL" clId="{3A6F4128-6482-4C75-8C7D-220A75826C22}" dt="2023-07-27T15:51:58.279" v="35706"/>
          <ac:cxnSpMkLst>
            <pc:docMk/>
            <pc:sldMk cId="2150827024" sldId="2146846414"/>
            <ac:cxnSpMk id="83" creationId="{E6A98E26-C7DC-48E3-8F50-FBF7F3C50F4C}"/>
          </ac:cxnSpMkLst>
        </pc:cxnChg>
      </pc:sldChg>
      <pc:sldChg chg="addSp delSp modSp add mod setBg delDesignElem delCm modCm">
        <pc:chgData name="Md Fahim Hasan" userId="92968fce-d4dd-4b9e-8635-66a07c9f98a7" providerId="ADAL" clId="{3A6F4128-6482-4C75-8C7D-220A75826C22}" dt="2023-07-27T20:01:48.353" v="37679"/>
        <pc:sldMkLst>
          <pc:docMk/>
          <pc:sldMk cId="501913928" sldId="2146846415"/>
        </pc:sldMkLst>
        <pc:spChg chg="mod">
          <ac:chgData name="Md Fahim Hasan" userId="92968fce-d4dd-4b9e-8635-66a07c9f98a7" providerId="ADAL" clId="{3A6F4128-6482-4C75-8C7D-220A75826C22}" dt="2023-07-27T15:51:58.279" v="35706"/>
          <ac:spMkLst>
            <pc:docMk/>
            <pc:sldMk cId="501913928" sldId="2146846415"/>
            <ac:spMk id="2" creationId="{9619A94D-10F3-1522-3B83-A842AFB54B8D}"/>
          </ac:spMkLst>
        </pc:spChg>
        <pc:spChg chg="mod">
          <ac:chgData name="Md Fahim Hasan" userId="92968fce-d4dd-4b9e-8635-66a07c9f98a7" providerId="ADAL" clId="{3A6F4128-6482-4C75-8C7D-220A75826C22}" dt="2023-07-27T15:55:21.870" v="35732" actId="115"/>
          <ac:spMkLst>
            <pc:docMk/>
            <pc:sldMk cId="501913928" sldId="2146846415"/>
            <ac:spMk id="9" creationId="{DCE765C9-F866-A10C-05BC-B0F5CF7D4FA9}"/>
          </ac:spMkLst>
        </pc:spChg>
        <pc:spChg chg="add del">
          <ac:chgData name="Md Fahim Hasan" userId="92968fce-d4dd-4b9e-8635-66a07c9f98a7" providerId="ADAL" clId="{3A6F4128-6482-4C75-8C7D-220A75826C22}" dt="2023-07-27T15:51:58.279" v="35706"/>
          <ac:spMkLst>
            <pc:docMk/>
            <pc:sldMk cId="501913928" sldId="2146846415"/>
            <ac:spMk id="20" creationId="{35F60170-91B4-45F0-B88B-9C07AEC4642C}"/>
          </ac:spMkLst>
        </pc:spChg>
        <pc:spChg chg="add del">
          <ac:chgData name="Md Fahim Hasan" userId="92968fce-d4dd-4b9e-8635-66a07c9f98a7" providerId="ADAL" clId="{3A6F4128-6482-4C75-8C7D-220A75826C22}" dt="2023-07-27T15:51:58.279" v="35706"/>
          <ac:spMkLst>
            <pc:docMk/>
            <pc:sldMk cId="501913928" sldId="2146846415"/>
            <ac:spMk id="22" creationId="{2C7D7C94-41C0-4614-8A18-941174D4D2AF}"/>
          </ac:spMkLst>
        </pc:spChg>
        <pc:spChg chg="del">
          <ac:chgData name="Md Fahim Hasan" userId="92968fce-d4dd-4b9e-8635-66a07c9f98a7" providerId="ADAL" clId="{3A6F4128-6482-4C75-8C7D-220A75826C22}" dt="2023-07-21T16:02:00.352" v="11111"/>
          <ac:spMkLst>
            <pc:docMk/>
            <pc:sldMk cId="501913928" sldId="2146846415"/>
            <ac:spMk id="80" creationId="{35F60170-91B4-45F0-B88B-9C07AEC4642C}"/>
          </ac:spMkLst>
        </pc:spChg>
        <pc:spChg chg="del">
          <ac:chgData name="Md Fahim Hasan" userId="92968fce-d4dd-4b9e-8635-66a07c9f98a7" providerId="ADAL" clId="{3A6F4128-6482-4C75-8C7D-220A75826C22}" dt="2023-07-21T16:02:00.352" v="11111"/>
          <ac:spMkLst>
            <pc:docMk/>
            <pc:sldMk cId="501913928" sldId="2146846415"/>
            <ac:spMk id="81" creationId="{2C7D7C94-41C0-4614-8A18-941174D4D2AF}"/>
          </ac:spMkLst>
        </pc:spChg>
        <pc:grpChg chg="add del">
          <ac:chgData name="Md Fahim Hasan" userId="92968fce-d4dd-4b9e-8635-66a07c9f98a7" providerId="ADAL" clId="{3A6F4128-6482-4C75-8C7D-220A75826C22}" dt="2023-07-27T15:51:58.279" v="35706"/>
          <ac:grpSpMkLst>
            <pc:docMk/>
            <pc:sldMk cId="501913928" sldId="2146846415"/>
            <ac:grpSpMk id="17" creationId="{65B3D45F-509E-43F3-B685-A5E78AD0D820}"/>
          </ac:grpSpMkLst>
        </pc:grpChg>
        <pc:grpChg chg="del">
          <ac:chgData name="Md Fahim Hasan" userId="92968fce-d4dd-4b9e-8635-66a07c9f98a7" providerId="ADAL" clId="{3A6F4128-6482-4C75-8C7D-220A75826C22}" dt="2023-07-21T16:02:00.352" v="11111"/>
          <ac:grpSpMkLst>
            <pc:docMk/>
            <pc:sldMk cId="501913928" sldId="2146846415"/>
            <ac:grpSpMk id="28" creationId="{65B3D45F-509E-43F3-B685-A5E78AD0D820}"/>
          </ac:grpSpMkLst>
        </pc:grpChg>
        <pc:picChg chg="del">
          <ac:chgData name="Md Fahim Hasan" userId="92968fce-d4dd-4b9e-8635-66a07c9f98a7" providerId="ADAL" clId="{3A6F4128-6482-4C75-8C7D-220A75826C22}" dt="2023-07-27T15:55:11.951" v="35730" actId="478"/>
          <ac:picMkLst>
            <pc:docMk/>
            <pc:sldMk cId="501913928" sldId="2146846415"/>
            <ac:picMk id="15" creationId="{B0F7B2C1-02FD-AB52-1E28-5A1C0EE1123A}"/>
          </ac:picMkLst>
        </pc:picChg>
        <pc:cxnChg chg="add mod">
          <ac:chgData name="Md Fahim Hasan" userId="92968fce-d4dd-4b9e-8635-66a07c9f98a7" providerId="ADAL" clId="{3A6F4128-6482-4C75-8C7D-220A75826C22}" dt="2023-07-27T15:55:54.256" v="35738"/>
          <ac:cxnSpMkLst>
            <pc:docMk/>
            <pc:sldMk cId="501913928" sldId="2146846415"/>
            <ac:cxnSpMk id="3" creationId="{416952F7-7C49-FE2E-C801-193C7F10F654}"/>
          </ac:cxnSpMkLst>
        </pc:cxnChg>
        <pc:cxnChg chg="add del">
          <ac:chgData name="Md Fahim Hasan" userId="92968fce-d4dd-4b9e-8635-66a07c9f98a7" providerId="ADAL" clId="{3A6F4128-6482-4C75-8C7D-220A75826C22}" dt="2023-07-27T15:51:58.279" v="35706"/>
          <ac:cxnSpMkLst>
            <pc:docMk/>
            <pc:sldMk cId="501913928" sldId="2146846415"/>
            <ac:cxnSpMk id="24" creationId="{61F6FBC1-6409-4059-B87B-1BE513242FE6}"/>
          </ac:cxnSpMkLst>
        </pc:cxnChg>
        <pc:cxnChg chg="add del">
          <ac:chgData name="Md Fahim Hasan" userId="92968fce-d4dd-4b9e-8635-66a07c9f98a7" providerId="ADAL" clId="{3A6F4128-6482-4C75-8C7D-220A75826C22}" dt="2023-07-27T15:51:58.279" v="35706"/>
          <ac:cxnSpMkLst>
            <pc:docMk/>
            <pc:sldMk cId="501913928" sldId="2146846415"/>
            <ac:cxnSpMk id="26" creationId="{E6A98E26-C7DC-48E3-8F50-FBF7F3C50F4C}"/>
          </ac:cxnSpMkLst>
        </pc:cxnChg>
        <pc:cxnChg chg="del">
          <ac:chgData name="Md Fahim Hasan" userId="92968fce-d4dd-4b9e-8635-66a07c9f98a7" providerId="ADAL" clId="{3A6F4128-6482-4C75-8C7D-220A75826C22}" dt="2023-07-21T16:02:00.352" v="11111"/>
          <ac:cxnSpMkLst>
            <pc:docMk/>
            <pc:sldMk cId="501913928" sldId="2146846415"/>
            <ac:cxnSpMk id="82" creationId="{61F6FBC1-6409-4059-B87B-1BE513242FE6}"/>
          </ac:cxnSpMkLst>
        </pc:cxnChg>
        <pc:cxnChg chg="del">
          <ac:chgData name="Md Fahim Hasan" userId="92968fce-d4dd-4b9e-8635-66a07c9f98a7" providerId="ADAL" clId="{3A6F4128-6482-4C75-8C7D-220A75826C22}" dt="2023-07-21T16:02:00.352" v="11111"/>
          <ac:cxnSpMkLst>
            <pc:docMk/>
            <pc:sldMk cId="501913928" sldId="2146846415"/>
            <ac:cxnSpMk id="83" creationId="{E6A98E26-C7DC-48E3-8F50-FBF7F3C50F4C}"/>
          </ac:cxnSpMkLst>
        </pc:cxnChg>
      </pc:sldChg>
      <pc:sldChg chg="addSp delSp modSp add mod ord setBg delDesignElem">
        <pc:chgData name="Md Fahim Hasan" userId="92968fce-d4dd-4b9e-8635-66a07c9f98a7" providerId="ADAL" clId="{3A6F4128-6482-4C75-8C7D-220A75826C22}" dt="2023-07-27T20:29:31.681" v="38000" actId="20577"/>
        <pc:sldMkLst>
          <pc:docMk/>
          <pc:sldMk cId="3186043782" sldId="2146846416"/>
        </pc:sldMkLst>
        <pc:spChg chg="mod">
          <ac:chgData name="Md Fahim Hasan" userId="92968fce-d4dd-4b9e-8635-66a07c9f98a7" providerId="ADAL" clId="{3A6F4128-6482-4C75-8C7D-220A75826C22}" dt="2023-07-27T15:51:58.279" v="35706"/>
          <ac:spMkLst>
            <pc:docMk/>
            <pc:sldMk cId="3186043782" sldId="2146846416"/>
            <ac:spMk id="2" creationId="{A47F22BB-216E-F8C1-A74B-A69867F0B962}"/>
          </ac:spMkLst>
        </pc:spChg>
        <pc:spChg chg="mod">
          <ac:chgData name="Md Fahim Hasan" userId="92968fce-d4dd-4b9e-8635-66a07c9f98a7" providerId="ADAL" clId="{3A6F4128-6482-4C75-8C7D-220A75826C22}" dt="2023-07-27T20:29:31.681" v="38000" actId="20577"/>
          <ac:spMkLst>
            <pc:docMk/>
            <pc:sldMk cId="3186043782" sldId="2146846416"/>
            <ac:spMk id="9" creationId="{DCE765C9-F866-A10C-05BC-B0F5CF7D4FA9}"/>
          </ac:spMkLst>
        </pc:spChg>
        <pc:spChg chg="add del">
          <ac:chgData name="Md Fahim Hasan" userId="92968fce-d4dd-4b9e-8635-66a07c9f98a7" providerId="ADAL" clId="{3A6F4128-6482-4C75-8C7D-220A75826C22}" dt="2023-07-21T16:03:46.251" v="11140" actId="26606"/>
          <ac:spMkLst>
            <pc:docMk/>
            <pc:sldMk cId="3186043782" sldId="2146846416"/>
            <ac:spMk id="14" creationId="{35F60170-91B4-45F0-B88B-9C07AEC4642C}"/>
          </ac:spMkLst>
        </pc:spChg>
        <pc:spChg chg="add del">
          <ac:chgData name="Md Fahim Hasan" userId="92968fce-d4dd-4b9e-8635-66a07c9f98a7" providerId="ADAL" clId="{3A6F4128-6482-4C75-8C7D-220A75826C22}" dt="2023-07-21T16:03:46.251" v="11140" actId="26606"/>
          <ac:spMkLst>
            <pc:docMk/>
            <pc:sldMk cId="3186043782" sldId="2146846416"/>
            <ac:spMk id="16" creationId="{2C7D7C94-41C0-4614-8A18-941174D4D2AF}"/>
          </ac:spMkLst>
        </pc:spChg>
        <pc:spChg chg="add del">
          <ac:chgData name="Md Fahim Hasan" userId="92968fce-d4dd-4b9e-8635-66a07c9f98a7" providerId="ADAL" clId="{3A6F4128-6482-4C75-8C7D-220A75826C22}" dt="2023-07-27T15:51:58.279" v="35706"/>
          <ac:spMkLst>
            <pc:docMk/>
            <pc:sldMk cId="3186043782" sldId="2146846416"/>
            <ac:spMk id="19" creationId="{35F60170-91B4-45F0-B88B-9C07AEC4642C}"/>
          </ac:spMkLst>
        </pc:spChg>
        <pc:spChg chg="del">
          <ac:chgData name="Md Fahim Hasan" userId="92968fce-d4dd-4b9e-8635-66a07c9f98a7" providerId="ADAL" clId="{3A6F4128-6482-4C75-8C7D-220A75826C22}" dt="2023-07-21T16:02:57.268" v="11128"/>
          <ac:spMkLst>
            <pc:docMk/>
            <pc:sldMk cId="3186043782" sldId="2146846416"/>
            <ac:spMk id="20" creationId="{35F60170-91B4-45F0-B88B-9C07AEC4642C}"/>
          </ac:spMkLst>
        </pc:spChg>
        <pc:spChg chg="add del">
          <ac:chgData name="Md Fahim Hasan" userId="92968fce-d4dd-4b9e-8635-66a07c9f98a7" providerId="ADAL" clId="{3A6F4128-6482-4C75-8C7D-220A75826C22}" dt="2023-07-27T15:51:58.279" v="35706"/>
          <ac:spMkLst>
            <pc:docMk/>
            <pc:sldMk cId="3186043782" sldId="2146846416"/>
            <ac:spMk id="21" creationId="{2C7D7C94-41C0-4614-8A18-941174D4D2AF}"/>
          </ac:spMkLst>
        </pc:spChg>
        <pc:spChg chg="del">
          <ac:chgData name="Md Fahim Hasan" userId="92968fce-d4dd-4b9e-8635-66a07c9f98a7" providerId="ADAL" clId="{3A6F4128-6482-4C75-8C7D-220A75826C22}" dt="2023-07-21T16:02:57.268" v="11128"/>
          <ac:spMkLst>
            <pc:docMk/>
            <pc:sldMk cId="3186043782" sldId="2146846416"/>
            <ac:spMk id="22" creationId="{2C7D7C94-41C0-4614-8A18-941174D4D2AF}"/>
          </ac:spMkLst>
        </pc:spChg>
        <pc:grpChg chg="add del">
          <ac:chgData name="Md Fahim Hasan" userId="92968fce-d4dd-4b9e-8635-66a07c9f98a7" providerId="ADAL" clId="{3A6F4128-6482-4C75-8C7D-220A75826C22}" dt="2023-07-21T16:03:46.251" v="11140" actId="26606"/>
          <ac:grpSpMkLst>
            <pc:docMk/>
            <pc:sldMk cId="3186043782" sldId="2146846416"/>
            <ac:grpSpMk id="12" creationId="{65B3D45F-509E-43F3-B685-A5E78AD0D820}"/>
          </ac:grpSpMkLst>
        </pc:grpChg>
        <pc:grpChg chg="del">
          <ac:chgData name="Md Fahim Hasan" userId="92968fce-d4dd-4b9e-8635-66a07c9f98a7" providerId="ADAL" clId="{3A6F4128-6482-4C75-8C7D-220A75826C22}" dt="2023-07-21T16:02:57.268" v="11128"/>
          <ac:grpSpMkLst>
            <pc:docMk/>
            <pc:sldMk cId="3186043782" sldId="2146846416"/>
            <ac:grpSpMk id="17" creationId="{65B3D45F-509E-43F3-B685-A5E78AD0D820}"/>
          </ac:grpSpMkLst>
        </pc:grpChg>
        <pc:grpChg chg="add del">
          <ac:chgData name="Md Fahim Hasan" userId="92968fce-d4dd-4b9e-8635-66a07c9f98a7" providerId="ADAL" clId="{3A6F4128-6482-4C75-8C7D-220A75826C22}" dt="2023-07-27T15:51:58.279" v="35706"/>
          <ac:grpSpMkLst>
            <pc:docMk/>
            <pc:sldMk cId="3186043782" sldId="2146846416"/>
            <ac:grpSpMk id="28" creationId="{65B3D45F-509E-43F3-B685-A5E78AD0D820}"/>
          </ac:grpSpMkLst>
        </pc:grpChg>
        <pc:picChg chg="add del">
          <ac:chgData name="Md Fahim Hasan" userId="92968fce-d4dd-4b9e-8635-66a07c9f98a7" providerId="ADAL" clId="{3A6F4128-6482-4C75-8C7D-220A75826C22}" dt="2023-07-27T15:55:31.932" v="35735" actId="478"/>
          <ac:picMkLst>
            <pc:docMk/>
            <pc:sldMk cId="3186043782" sldId="2146846416"/>
            <ac:picMk id="15" creationId="{B0F7B2C1-02FD-AB52-1E28-5A1C0EE1123A}"/>
          </ac:picMkLst>
        </pc:picChg>
        <pc:cxnChg chg="add mod">
          <ac:chgData name="Md Fahim Hasan" userId="92968fce-d4dd-4b9e-8635-66a07c9f98a7" providerId="ADAL" clId="{3A6F4128-6482-4C75-8C7D-220A75826C22}" dt="2023-07-27T15:55:51.270" v="35737"/>
          <ac:cxnSpMkLst>
            <pc:docMk/>
            <pc:sldMk cId="3186043782" sldId="2146846416"/>
            <ac:cxnSpMk id="3" creationId="{82A02A7D-C378-92E6-11FA-AEC42BEFAE49}"/>
          </ac:cxnSpMkLst>
        </pc:cxnChg>
        <pc:cxnChg chg="add del">
          <ac:chgData name="Md Fahim Hasan" userId="92968fce-d4dd-4b9e-8635-66a07c9f98a7" providerId="ADAL" clId="{3A6F4128-6482-4C75-8C7D-220A75826C22}" dt="2023-07-21T16:03:46.251" v="11140" actId="26606"/>
          <ac:cxnSpMkLst>
            <pc:docMk/>
            <pc:sldMk cId="3186043782" sldId="2146846416"/>
            <ac:cxnSpMk id="11" creationId="{E6A98E26-C7DC-48E3-8F50-FBF7F3C50F4C}"/>
          </ac:cxnSpMkLst>
        </pc:cxnChg>
        <pc:cxnChg chg="add del">
          <ac:chgData name="Md Fahim Hasan" userId="92968fce-d4dd-4b9e-8635-66a07c9f98a7" providerId="ADAL" clId="{3A6F4128-6482-4C75-8C7D-220A75826C22}" dt="2023-07-21T16:03:46.251" v="11140" actId="26606"/>
          <ac:cxnSpMkLst>
            <pc:docMk/>
            <pc:sldMk cId="3186043782" sldId="2146846416"/>
            <ac:cxnSpMk id="18" creationId="{61F6FBC1-6409-4059-B87B-1BE513242FE6}"/>
          </ac:cxnSpMkLst>
        </pc:cxnChg>
        <pc:cxnChg chg="add del">
          <ac:chgData name="Md Fahim Hasan" userId="92968fce-d4dd-4b9e-8635-66a07c9f98a7" providerId="ADAL" clId="{3A6F4128-6482-4C75-8C7D-220A75826C22}" dt="2023-07-27T15:51:58.279" v="35706"/>
          <ac:cxnSpMkLst>
            <pc:docMk/>
            <pc:sldMk cId="3186043782" sldId="2146846416"/>
            <ac:cxnSpMk id="23" creationId="{61F6FBC1-6409-4059-B87B-1BE513242FE6}"/>
          </ac:cxnSpMkLst>
        </pc:cxnChg>
        <pc:cxnChg chg="del">
          <ac:chgData name="Md Fahim Hasan" userId="92968fce-d4dd-4b9e-8635-66a07c9f98a7" providerId="ADAL" clId="{3A6F4128-6482-4C75-8C7D-220A75826C22}" dt="2023-07-21T16:02:57.268" v="11128"/>
          <ac:cxnSpMkLst>
            <pc:docMk/>
            <pc:sldMk cId="3186043782" sldId="2146846416"/>
            <ac:cxnSpMk id="24" creationId="{61F6FBC1-6409-4059-B87B-1BE513242FE6}"/>
          </ac:cxnSpMkLst>
        </pc:cxnChg>
        <pc:cxnChg chg="add del">
          <ac:chgData name="Md Fahim Hasan" userId="92968fce-d4dd-4b9e-8635-66a07c9f98a7" providerId="ADAL" clId="{3A6F4128-6482-4C75-8C7D-220A75826C22}" dt="2023-07-27T15:51:58.279" v="35706"/>
          <ac:cxnSpMkLst>
            <pc:docMk/>
            <pc:sldMk cId="3186043782" sldId="2146846416"/>
            <ac:cxnSpMk id="25" creationId="{E6A98E26-C7DC-48E3-8F50-FBF7F3C50F4C}"/>
          </ac:cxnSpMkLst>
        </pc:cxnChg>
        <pc:cxnChg chg="del">
          <ac:chgData name="Md Fahim Hasan" userId="92968fce-d4dd-4b9e-8635-66a07c9f98a7" providerId="ADAL" clId="{3A6F4128-6482-4C75-8C7D-220A75826C22}" dt="2023-07-21T16:02:57.268" v="11128"/>
          <ac:cxnSpMkLst>
            <pc:docMk/>
            <pc:sldMk cId="3186043782" sldId="2146846416"/>
            <ac:cxnSpMk id="26" creationId="{E6A98E26-C7DC-48E3-8F50-FBF7F3C50F4C}"/>
          </ac:cxnSpMkLst>
        </pc:cxnChg>
      </pc:sldChg>
      <pc:sldChg chg="addSp delSp modSp add del mod ord setBg delDesignElem">
        <pc:chgData name="Md Fahim Hasan" userId="92968fce-d4dd-4b9e-8635-66a07c9f98a7" providerId="ADAL" clId="{3A6F4128-6482-4C75-8C7D-220A75826C22}" dt="2023-07-26T21:29:12.337" v="30747" actId="47"/>
        <pc:sldMkLst>
          <pc:docMk/>
          <pc:sldMk cId="3050228371" sldId="2146846417"/>
        </pc:sldMkLst>
        <pc:spChg chg="mod">
          <ac:chgData name="Md Fahim Hasan" userId="92968fce-d4dd-4b9e-8635-66a07c9f98a7" providerId="ADAL" clId="{3A6F4128-6482-4C75-8C7D-220A75826C22}" dt="2023-07-26T21:18:24.497" v="29460" actId="20577"/>
          <ac:spMkLst>
            <pc:docMk/>
            <pc:sldMk cId="3050228371" sldId="2146846417"/>
            <ac:spMk id="9" creationId="{DCE765C9-F866-A10C-05BC-B0F5CF7D4FA9}"/>
          </ac:spMkLst>
        </pc:spChg>
        <pc:spChg chg="add">
          <ac:chgData name="Md Fahim Hasan" userId="92968fce-d4dd-4b9e-8635-66a07c9f98a7" providerId="ADAL" clId="{3A6F4128-6482-4C75-8C7D-220A75826C22}" dt="2023-07-21T16:05:24.194" v="11235" actId="26606"/>
          <ac:spMkLst>
            <pc:docMk/>
            <pc:sldMk cId="3050228371" sldId="2146846417"/>
            <ac:spMk id="18" creationId="{35F60170-91B4-45F0-B88B-9C07AEC4642C}"/>
          </ac:spMkLst>
        </pc:spChg>
        <pc:spChg chg="add">
          <ac:chgData name="Md Fahim Hasan" userId="92968fce-d4dd-4b9e-8635-66a07c9f98a7" providerId="ADAL" clId="{3A6F4128-6482-4C75-8C7D-220A75826C22}" dt="2023-07-21T16:05:24.194" v="11235" actId="26606"/>
          <ac:spMkLst>
            <pc:docMk/>
            <pc:sldMk cId="3050228371" sldId="2146846417"/>
            <ac:spMk id="19" creationId="{2C7D7C94-41C0-4614-8A18-941174D4D2AF}"/>
          </ac:spMkLst>
        </pc:spChg>
        <pc:spChg chg="add del mod">
          <ac:chgData name="Md Fahim Hasan" userId="92968fce-d4dd-4b9e-8635-66a07c9f98a7" providerId="ADAL" clId="{3A6F4128-6482-4C75-8C7D-220A75826C22}" dt="2023-07-21T16:05:21.829" v="11234" actId="26606"/>
          <ac:spMkLst>
            <pc:docMk/>
            <pc:sldMk cId="3050228371" sldId="2146846417"/>
            <ac:spMk id="20" creationId="{35F60170-91B4-45F0-B88B-9C07AEC4642C}"/>
          </ac:spMkLst>
        </pc:spChg>
        <pc:spChg chg="add del">
          <ac:chgData name="Md Fahim Hasan" userId="92968fce-d4dd-4b9e-8635-66a07c9f98a7" providerId="ADAL" clId="{3A6F4128-6482-4C75-8C7D-220A75826C22}" dt="2023-07-21T16:05:21.829" v="11234" actId="26606"/>
          <ac:spMkLst>
            <pc:docMk/>
            <pc:sldMk cId="3050228371" sldId="2146846417"/>
            <ac:spMk id="22" creationId="{2C7D7C94-41C0-4614-8A18-941174D4D2AF}"/>
          </ac:spMkLst>
        </pc:spChg>
        <pc:spChg chg="del">
          <ac:chgData name="Md Fahim Hasan" userId="92968fce-d4dd-4b9e-8635-66a07c9f98a7" providerId="ADAL" clId="{3A6F4128-6482-4C75-8C7D-220A75826C22}" dt="2023-07-21T16:04:36.683" v="11164"/>
          <ac:spMkLst>
            <pc:docMk/>
            <pc:sldMk cId="3050228371" sldId="2146846417"/>
            <ac:spMk id="80" creationId="{35F60170-91B4-45F0-B88B-9C07AEC4642C}"/>
          </ac:spMkLst>
        </pc:spChg>
        <pc:spChg chg="del">
          <ac:chgData name="Md Fahim Hasan" userId="92968fce-d4dd-4b9e-8635-66a07c9f98a7" providerId="ADAL" clId="{3A6F4128-6482-4C75-8C7D-220A75826C22}" dt="2023-07-21T16:04:36.683" v="11164"/>
          <ac:spMkLst>
            <pc:docMk/>
            <pc:sldMk cId="3050228371" sldId="2146846417"/>
            <ac:spMk id="81" creationId="{2C7D7C94-41C0-4614-8A18-941174D4D2AF}"/>
          </ac:spMkLst>
        </pc:spChg>
        <pc:grpChg chg="add del">
          <ac:chgData name="Md Fahim Hasan" userId="92968fce-d4dd-4b9e-8635-66a07c9f98a7" providerId="ADAL" clId="{3A6F4128-6482-4C75-8C7D-220A75826C22}" dt="2023-07-21T16:05:21.829" v="11234" actId="26606"/>
          <ac:grpSpMkLst>
            <pc:docMk/>
            <pc:sldMk cId="3050228371" sldId="2146846417"/>
            <ac:grpSpMk id="17" creationId="{65B3D45F-509E-43F3-B685-A5E78AD0D820}"/>
          </ac:grpSpMkLst>
        </pc:grpChg>
        <pc:grpChg chg="add">
          <ac:chgData name="Md Fahim Hasan" userId="92968fce-d4dd-4b9e-8635-66a07c9f98a7" providerId="ADAL" clId="{3A6F4128-6482-4C75-8C7D-220A75826C22}" dt="2023-07-21T16:05:24.194" v="11235" actId="26606"/>
          <ac:grpSpMkLst>
            <pc:docMk/>
            <pc:sldMk cId="3050228371" sldId="2146846417"/>
            <ac:grpSpMk id="25" creationId="{65B3D45F-509E-43F3-B685-A5E78AD0D820}"/>
          </ac:grpSpMkLst>
        </pc:grpChg>
        <pc:grpChg chg="del">
          <ac:chgData name="Md Fahim Hasan" userId="92968fce-d4dd-4b9e-8635-66a07c9f98a7" providerId="ADAL" clId="{3A6F4128-6482-4C75-8C7D-220A75826C22}" dt="2023-07-21T16:04:36.683" v="11164"/>
          <ac:grpSpMkLst>
            <pc:docMk/>
            <pc:sldMk cId="3050228371" sldId="2146846417"/>
            <ac:grpSpMk id="28" creationId="{65B3D45F-509E-43F3-B685-A5E78AD0D820}"/>
          </ac:grpSpMkLst>
        </pc:grpChg>
        <pc:cxnChg chg="add">
          <ac:chgData name="Md Fahim Hasan" userId="92968fce-d4dd-4b9e-8635-66a07c9f98a7" providerId="ADAL" clId="{3A6F4128-6482-4C75-8C7D-220A75826C22}" dt="2023-07-21T16:05:24.194" v="11235" actId="26606"/>
          <ac:cxnSpMkLst>
            <pc:docMk/>
            <pc:sldMk cId="3050228371" sldId="2146846417"/>
            <ac:cxnSpMk id="21" creationId="{61F6FBC1-6409-4059-B87B-1BE513242FE6}"/>
          </ac:cxnSpMkLst>
        </pc:cxnChg>
        <pc:cxnChg chg="add">
          <ac:chgData name="Md Fahim Hasan" userId="92968fce-d4dd-4b9e-8635-66a07c9f98a7" providerId="ADAL" clId="{3A6F4128-6482-4C75-8C7D-220A75826C22}" dt="2023-07-21T16:05:24.194" v="11235" actId="26606"/>
          <ac:cxnSpMkLst>
            <pc:docMk/>
            <pc:sldMk cId="3050228371" sldId="2146846417"/>
            <ac:cxnSpMk id="23" creationId="{E6A98E26-C7DC-48E3-8F50-FBF7F3C50F4C}"/>
          </ac:cxnSpMkLst>
        </pc:cxnChg>
        <pc:cxnChg chg="add del">
          <ac:chgData name="Md Fahim Hasan" userId="92968fce-d4dd-4b9e-8635-66a07c9f98a7" providerId="ADAL" clId="{3A6F4128-6482-4C75-8C7D-220A75826C22}" dt="2023-07-21T16:05:21.829" v="11234" actId="26606"/>
          <ac:cxnSpMkLst>
            <pc:docMk/>
            <pc:sldMk cId="3050228371" sldId="2146846417"/>
            <ac:cxnSpMk id="24" creationId="{61F6FBC1-6409-4059-B87B-1BE513242FE6}"/>
          </ac:cxnSpMkLst>
        </pc:cxnChg>
        <pc:cxnChg chg="add del">
          <ac:chgData name="Md Fahim Hasan" userId="92968fce-d4dd-4b9e-8635-66a07c9f98a7" providerId="ADAL" clId="{3A6F4128-6482-4C75-8C7D-220A75826C22}" dt="2023-07-21T16:05:21.829" v="11234" actId="26606"/>
          <ac:cxnSpMkLst>
            <pc:docMk/>
            <pc:sldMk cId="3050228371" sldId="2146846417"/>
            <ac:cxnSpMk id="26" creationId="{E6A98E26-C7DC-48E3-8F50-FBF7F3C50F4C}"/>
          </ac:cxnSpMkLst>
        </pc:cxnChg>
        <pc:cxnChg chg="del">
          <ac:chgData name="Md Fahim Hasan" userId="92968fce-d4dd-4b9e-8635-66a07c9f98a7" providerId="ADAL" clId="{3A6F4128-6482-4C75-8C7D-220A75826C22}" dt="2023-07-21T16:04:36.683" v="11164"/>
          <ac:cxnSpMkLst>
            <pc:docMk/>
            <pc:sldMk cId="3050228371" sldId="2146846417"/>
            <ac:cxnSpMk id="82" creationId="{61F6FBC1-6409-4059-B87B-1BE513242FE6}"/>
          </ac:cxnSpMkLst>
        </pc:cxnChg>
        <pc:cxnChg chg="del">
          <ac:chgData name="Md Fahim Hasan" userId="92968fce-d4dd-4b9e-8635-66a07c9f98a7" providerId="ADAL" clId="{3A6F4128-6482-4C75-8C7D-220A75826C22}" dt="2023-07-21T16:04:36.683" v="11164"/>
          <ac:cxnSpMkLst>
            <pc:docMk/>
            <pc:sldMk cId="3050228371" sldId="2146846417"/>
            <ac:cxnSpMk id="83" creationId="{E6A98E26-C7DC-48E3-8F50-FBF7F3C50F4C}"/>
          </ac:cxnSpMkLst>
        </pc:cxnChg>
      </pc:sldChg>
      <pc:sldChg chg="addSp delSp modSp add mod ord modAnim modNotesTx">
        <pc:chgData name="Md Fahim Hasan" userId="92968fce-d4dd-4b9e-8635-66a07c9f98a7" providerId="ADAL" clId="{3A6F4128-6482-4C75-8C7D-220A75826C22}" dt="2023-07-27T20:28:12.669" v="37950" actId="20577"/>
        <pc:sldMkLst>
          <pc:docMk/>
          <pc:sldMk cId="3045417633" sldId="2146846418"/>
        </pc:sldMkLst>
        <pc:spChg chg="mod">
          <ac:chgData name="Md Fahim Hasan" userId="92968fce-d4dd-4b9e-8635-66a07c9f98a7" providerId="ADAL" clId="{3A6F4128-6482-4C75-8C7D-220A75826C22}" dt="2023-07-26T18:28:14.067" v="24805" actId="1036"/>
          <ac:spMkLst>
            <pc:docMk/>
            <pc:sldMk cId="3045417633" sldId="2146846418"/>
            <ac:spMk id="2" creationId="{D423FFAF-9CDC-ACC2-E90E-850A37957BAA}"/>
          </ac:spMkLst>
        </pc:spChg>
        <pc:spChg chg="mod">
          <ac:chgData name="Md Fahim Hasan" userId="92968fce-d4dd-4b9e-8635-66a07c9f98a7" providerId="ADAL" clId="{3A6F4128-6482-4C75-8C7D-220A75826C22}" dt="2023-07-26T18:28:14.067" v="24805" actId="1036"/>
          <ac:spMkLst>
            <pc:docMk/>
            <pc:sldMk cId="3045417633" sldId="2146846418"/>
            <ac:spMk id="3" creationId="{BBE374DC-2B4D-CC21-509C-1EE76C7459BF}"/>
          </ac:spMkLst>
        </pc:spChg>
        <pc:spChg chg="del">
          <ac:chgData name="Md Fahim Hasan" userId="92968fce-d4dd-4b9e-8635-66a07c9f98a7" providerId="ADAL" clId="{3A6F4128-6482-4C75-8C7D-220A75826C22}" dt="2023-07-21T22:22:50.186" v="13278" actId="478"/>
          <ac:spMkLst>
            <pc:docMk/>
            <pc:sldMk cId="3045417633" sldId="2146846418"/>
            <ac:spMk id="4" creationId="{6E725962-AA6E-3764-10EC-09E349BF7BE0}"/>
          </ac:spMkLst>
        </pc:spChg>
        <pc:spChg chg="mod">
          <ac:chgData name="Md Fahim Hasan" userId="92968fce-d4dd-4b9e-8635-66a07c9f98a7" providerId="ADAL" clId="{3A6F4128-6482-4C75-8C7D-220A75826C22}" dt="2023-07-26T18:28:14.067" v="24805" actId="1036"/>
          <ac:spMkLst>
            <pc:docMk/>
            <pc:sldMk cId="3045417633" sldId="2146846418"/>
            <ac:spMk id="5" creationId="{9F7F57A7-442D-82AB-3AD9-521A308C82AF}"/>
          </ac:spMkLst>
        </pc:spChg>
        <pc:spChg chg="mod">
          <ac:chgData name="Md Fahim Hasan" userId="92968fce-d4dd-4b9e-8635-66a07c9f98a7" providerId="ADAL" clId="{3A6F4128-6482-4C75-8C7D-220A75826C22}" dt="2023-07-26T18:28:14.067" v="24805" actId="1036"/>
          <ac:spMkLst>
            <pc:docMk/>
            <pc:sldMk cId="3045417633" sldId="2146846418"/>
            <ac:spMk id="6" creationId="{D027ECB3-9E9A-490C-3B18-F9FAFF0F379D}"/>
          </ac:spMkLst>
        </pc:spChg>
        <pc:spChg chg="mod">
          <ac:chgData name="Md Fahim Hasan" userId="92968fce-d4dd-4b9e-8635-66a07c9f98a7" providerId="ADAL" clId="{3A6F4128-6482-4C75-8C7D-220A75826C22}" dt="2023-07-26T18:28:14.067" v="24805" actId="1036"/>
          <ac:spMkLst>
            <pc:docMk/>
            <pc:sldMk cId="3045417633" sldId="2146846418"/>
            <ac:spMk id="7" creationId="{42710935-B651-FC59-77DA-0FCAAAFDFECA}"/>
          </ac:spMkLst>
        </pc:spChg>
        <pc:spChg chg="mod">
          <ac:chgData name="Md Fahim Hasan" userId="92968fce-d4dd-4b9e-8635-66a07c9f98a7" providerId="ADAL" clId="{3A6F4128-6482-4C75-8C7D-220A75826C22}" dt="2023-07-26T18:28:14.067" v="24805" actId="1036"/>
          <ac:spMkLst>
            <pc:docMk/>
            <pc:sldMk cId="3045417633" sldId="2146846418"/>
            <ac:spMk id="8" creationId="{A4B40D14-0A2C-A05B-A83A-19A0895929AA}"/>
          </ac:spMkLst>
        </pc:spChg>
        <pc:spChg chg="mod">
          <ac:chgData name="Md Fahim Hasan" userId="92968fce-d4dd-4b9e-8635-66a07c9f98a7" providerId="ADAL" clId="{3A6F4128-6482-4C75-8C7D-220A75826C22}" dt="2023-07-27T20:28:12.669" v="37950" actId="20577"/>
          <ac:spMkLst>
            <pc:docMk/>
            <pc:sldMk cId="3045417633" sldId="2146846418"/>
            <ac:spMk id="9" creationId="{DCE765C9-F866-A10C-05BC-B0F5CF7D4FA9}"/>
          </ac:spMkLst>
        </pc:spChg>
        <pc:spChg chg="mod">
          <ac:chgData name="Md Fahim Hasan" userId="92968fce-d4dd-4b9e-8635-66a07c9f98a7" providerId="ADAL" clId="{3A6F4128-6482-4C75-8C7D-220A75826C22}" dt="2023-07-26T18:28:14.067" v="24805" actId="1036"/>
          <ac:spMkLst>
            <pc:docMk/>
            <pc:sldMk cId="3045417633" sldId="2146846418"/>
            <ac:spMk id="10" creationId="{2393CE26-9104-47DD-1444-9251A959AAF8}"/>
          </ac:spMkLst>
        </pc:spChg>
        <pc:spChg chg="mod">
          <ac:chgData name="Md Fahim Hasan" userId="92968fce-d4dd-4b9e-8635-66a07c9f98a7" providerId="ADAL" clId="{3A6F4128-6482-4C75-8C7D-220A75826C22}" dt="2023-07-27T15:51:58.279" v="35706"/>
          <ac:spMkLst>
            <pc:docMk/>
            <pc:sldMk cId="3045417633" sldId="2146846418"/>
            <ac:spMk id="13" creationId="{3BF66BB4-76B3-B846-B348-5E45C1721294}"/>
          </ac:spMkLst>
        </pc:spChg>
        <pc:spChg chg="mod">
          <ac:chgData name="Md Fahim Hasan" userId="92968fce-d4dd-4b9e-8635-66a07c9f98a7" providerId="ADAL" clId="{3A6F4128-6482-4C75-8C7D-220A75826C22}" dt="2023-07-26T18:28:14.067" v="24805" actId="1036"/>
          <ac:spMkLst>
            <pc:docMk/>
            <pc:sldMk cId="3045417633" sldId="2146846418"/>
            <ac:spMk id="14" creationId="{1ECF1496-C26E-777C-A1F2-11A012EB99FF}"/>
          </ac:spMkLst>
        </pc:spChg>
        <pc:spChg chg="mod">
          <ac:chgData name="Md Fahim Hasan" userId="92968fce-d4dd-4b9e-8635-66a07c9f98a7" providerId="ADAL" clId="{3A6F4128-6482-4C75-8C7D-220A75826C22}" dt="2023-07-26T18:28:14.067" v="24805" actId="1036"/>
          <ac:spMkLst>
            <pc:docMk/>
            <pc:sldMk cId="3045417633" sldId="2146846418"/>
            <ac:spMk id="15" creationId="{9E0E1CDE-6703-FD9D-1A66-476619E1C835}"/>
          </ac:spMkLst>
        </pc:spChg>
        <pc:spChg chg="mod">
          <ac:chgData name="Md Fahim Hasan" userId="92968fce-d4dd-4b9e-8635-66a07c9f98a7" providerId="ADAL" clId="{3A6F4128-6482-4C75-8C7D-220A75826C22}" dt="2023-07-26T18:28:14.067" v="24805" actId="1036"/>
          <ac:spMkLst>
            <pc:docMk/>
            <pc:sldMk cId="3045417633" sldId="2146846418"/>
            <ac:spMk id="16" creationId="{84F5F83C-35E6-5099-E1AF-3CD54D9B2E5D}"/>
          </ac:spMkLst>
        </pc:spChg>
        <pc:spChg chg="mod">
          <ac:chgData name="Md Fahim Hasan" userId="92968fce-d4dd-4b9e-8635-66a07c9f98a7" providerId="ADAL" clId="{3A6F4128-6482-4C75-8C7D-220A75826C22}" dt="2023-07-27T14:43:58.033" v="34938" actId="20577"/>
          <ac:spMkLst>
            <pc:docMk/>
            <pc:sldMk cId="3045417633" sldId="2146846418"/>
            <ac:spMk id="17" creationId="{312523D9-B3BC-1E8B-706E-D99E9EB5EB72}"/>
          </ac:spMkLst>
        </pc:spChg>
        <pc:spChg chg="add mod">
          <ac:chgData name="Md Fahim Hasan" userId="92968fce-d4dd-4b9e-8635-66a07c9f98a7" providerId="ADAL" clId="{3A6F4128-6482-4C75-8C7D-220A75826C22}" dt="2023-07-26T18:29:09.617" v="24836" actId="20577"/>
          <ac:spMkLst>
            <pc:docMk/>
            <pc:sldMk cId="3045417633" sldId="2146846418"/>
            <ac:spMk id="18" creationId="{2EC65C43-8A7C-E56C-A017-801E1D3F8056}"/>
          </ac:spMkLst>
        </pc:spChg>
        <pc:spChg chg="mod">
          <ac:chgData name="Md Fahim Hasan" userId="92968fce-d4dd-4b9e-8635-66a07c9f98a7" providerId="ADAL" clId="{3A6F4128-6482-4C75-8C7D-220A75826C22}" dt="2023-07-26T18:28:14.067" v="24805" actId="1036"/>
          <ac:spMkLst>
            <pc:docMk/>
            <pc:sldMk cId="3045417633" sldId="2146846418"/>
            <ac:spMk id="41" creationId="{AF888FBF-A457-95EB-8F40-9876975F7B07}"/>
          </ac:spMkLst>
        </pc:spChg>
        <pc:spChg chg="mod">
          <ac:chgData name="Md Fahim Hasan" userId="92968fce-d4dd-4b9e-8635-66a07c9f98a7" providerId="ADAL" clId="{3A6F4128-6482-4C75-8C7D-220A75826C22}" dt="2023-07-26T18:28:14.067" v="24805" actId="1036"/>
          <ac:spMkLst>
            <pc:docMk/>
            <pc:sldMk cId="3045417633" sldId="2146846418"/>
            <ac:spMk id="49" creationId="{19C589D2-8479-4B0D-4A80-DEFC3E7C4CC5}"/>
          </ac:spMkLst>
        </pc:spChg>
        <pc:cxnChg chg="mod">
          <ac:chgData name="Md Fahim Hasan" userId="92968fce-d4dd-4b9e-8635-66a07c9f98a7" providerId="ADAL" clId="{3A6F4128-6482-4C75-8C7D-220A75826C22}" dt="2023-07-26T18:28:14.067" v="24805" actId="1036"/>
          <ac:cxnSpMkLst>
            <pc:docMk/>
            <pc:sldMk cId="3045417633" sldId="2146846418"/>
            <ac:cxnSpMk id="12" creationId="{3949C65D-F337-77F4-CBF2-3B5676CD78E1}"/>
          </ac:cxnSpMkLst>
        </pc:cxnChg>
        <pc:cxnChg chg="mod">
          <ac:chgData name="Md Fahim Hasan" userId="92968fce-d4dd-4b9e-8635-66a07c9f98a7" providerId="ADAL" clId="{3A6F4128-6482-4C75-8C7D-220A75826C22}" dt="2023-07-26T18:28:14.067" v="24805" actId="1036"/>
          <ac:cxnSpMkLst>
            <pc:docMk/>
            <pc:sldMk cId="3045417633" sldId="2146846418"/>
            <ac:cxnSpMk id="19" creationId="{EAEC5CB0-9F66-9866-7B24-3CB489200CF6}"/>
          </ac:cxnSpMkLst>
        </pc:cxnChg>
        <pc:cxnChg chg="mod">
          <ac:chgData name="Md Fahim Hasan" userId="92968fce-d4dd-4b9e-8635-66a07c9f98a7" providerId="ADAL" clId="{3A6F4128-6482-4C75-8C7D-220A75826C22}" dt="2023-07-26T18:28:14.067" v="24805" actId="1036"/>
          <ac:cxnSpMkLst>
            <pc:docMk/>
            <pc:sldMk cId="3045417633" sldId="2146846418"/>
            <ac:cxnSpMk id="21" creationId="{633E4688-564C-41FB-BC65-5056A5B90144}"/>
          </ac:cxnSpMkLst>
        </pc:cxnChg>
        <pc:cxnChg chg="mod">
          <ac:chgData name="Md Fahim Hasan" userId="92968fce-d4dd-4b9e-8635-66a07c9f98a7" providerId="ADAL" clId="{3A6F4128-6482-4C75-8C7D-220A75826C22}" dt="2023-07-26T18:28:14.067" v="24805" actId="1036"/>
          <ac:cxnSpMkLst>
            <pc:docMk/>
            <pc:sldMk cId="3045417633" sldId="2146846418"/>
            <ac:cxnSpMk id="22" creationId="{C9CE9F37-2325-294A-135B-F0550FAECF93}"/>
          </ac:cxnSpMkLst>
        </pc:cxnChg>
        <pc:cxnChg chg="mod">
          <ac:chgData name="Md Fahim Hasan" userId="92968fce-d4dd-4b9e-8635-66a07c9f98a7" providerId="ADAL" clId="{3A6F4128-6482-4C75-8C7D-220A75826C22}" dt="2023-07-26T18:28:14.067" v="24805" actId="1036"/>
          <ac:cxnSpMkLst>
            <pc:docMk/>
            <pc:sldMk cId="3045417633" sldId="2146846418"/>
            <ac:cxnSpMk id="26" creationId="{9D846DE1-8546-CA57-885E-56A2C2534CCB}"/>
          </ac:cxnSpMkLst>
        </pc:cxnChg>
        <pc:cxnChg chg="mod">
          <ac:chgData name="Md Fahim Hasan" userId="92968fce-d4dd-4b9e-8635-66a07c9f98a7" providerId="ADAL" clId="{3A6F4128-6482-4C75-8C7D-220A75826C22}" dt="2023-07-26T18:28:14.067" v="24805" actId="1036"/>
          <ac:cxnSpMkLst>
            <pc:docMk/>
            <pc:sldMk cId="3045417633" sldId="2146846418"/>
            <ac:cxnSpMk id="27" creationId="{8C78C693-EAAC-EB89-E338-90AAFBB17839}"/>
          </ac:cxnSpMkLst>
        </pc:cxnChg>
        <pc:cxnChg chg="mod">
          <ac:chgData name="Md Fahim Hasan" userId="92968fce-d4dd-4b9e-8635-66a07c9f98a7" providerId="ADAL" clId="{3A6F4128-6482-4C75-8C7D-220A75826C22}" dt="2023-07-26T18:28:14.067" v="24805" actId="1036"/>
          <ac:cxnSpMkLst>
            <pc:docMk/>
            <pc:sldMk cId="3045417633" sldId="2146846418"/>
            <ac:cxnSpMk id="38" creationId="{54CB732F-EFAA-0062-81D8-400F002267C4}"/>
          </ac:cxnSpMkLst>
        </pc:cxnChg>
        <pc:cxnChg chg="mod">
          <ac:chgData name="Md Fahim Hasan" userId="92968fce-d4dd-4b9e-8635-66a07c9f98a7" providerId="ADAL" clId="{3A6F4128-6482-4C75-8C7D-220A75826C22}" dt="2023-07-26T18:28:14.067" v="24805" actId="1036"/>
          <ac:cxnSpMkLst>
            <pc:docMk/>
            <pc:sldMk cId="3045417633" sldId="2146846418"/>
            <ac:cxnSpMk id="46" creationId="{B50C30AB-5F63-C383-1BCF-41748E23BE0A}"/>
          </ac:cxnSpMkLst>
        </pc:cxnChg>
        <pc:cxnChg chg="mod">
          <ac:chgData name="Md Fahim Hasan" userId="92968fce-d4dd-4b9e-8635-66a07c9f98a7" providerId="ADAL" clId="{3A6F4128-6482-4C75-8C7D-220A75826C22}" dt="2023-07-26T18:28:14.067" v="24805" actId="1036"/>
          <ac:cxnSpMkLst>
            <pc:docMk/>
            <pc:sldMk cId="3045417633" sldId="2146846418"/>
            <ac:cxnSpMk id="56" creationId="{FE9C8553-0384-2641-7E80-E9CD677A1BB0}"/>
          </ac:cxnSpMkLst>
        </pc:cxnChg>
        <pc:cxnChg chg="mod">
          <ac:chgData name="Md Fahim Hasan" userId="92968fce-d4dd-4b9e-8635-66a07c9f98a7" providerId="ADAL" clId="{3A6F4128-6482-4C75-8C7D-220A75826C22}" dt="2023-07-26T18:28:14.067" v="24805" actId="1036"/>
          <ac:cxnSpMkLst>
            <pc:docMk/>
            <pc:sldMk cId="3045417633" sldId="2146846418"/>
            <ac:cxnSpMk id="74" creationId="{7C59F5D8-CB92-52E7-C960-05BF652B3B6E}"/>
          </ac:cxnSpMkLst>
        </pc:cxnChg>
      </pc:sldChg>
      <pc:sldChg chg="addSp delSp modSp add del mod ord setBg delDesignElem">
        <pc:chgData name="Md Fahim Hasan" userId="92968fce-d4dd-4b9e-8635-66a07c9f98a7" providerId="ADAL" clId="{3A6F4128-6482-4C75-8C7D-220A75826C22}" dt="2023-07-25T17:00:03.723" v="18204" actId="47"/>
        <pc:sldMkLst>
          <pc:docMk/>
          <pc:sldMk cId="3896415740" sldId="2146846419"/>
        </pc:sldMkLst>
        <pc:spChg chg="del mod">
          <ac:chgData name="Md Fahim Hasan" userId="92968fce-d4dd-4b9e-8635-66a07c9f98a7" providerId="ADAL" clId="{3A6F4128-6482-4C75-8C7D-220A75826C22}" dt="2023-07-24T18:16:00.791" v="17512" actId="478"/>
          <ac:spMkLst>
            <pc:docMk/>
            <pc:sldMk cId="3896415740" sldId="2146846419"/>
            <ac:spMk id="2" creationId="{9619A94D-10F3-1522-3B83-A842AFB54B8D}"/>
          </ac:spMkLst>
        </pc:spChg>
        <pc:spChg chg="mod">
          <ac:chgData name="Md Fahim Hasan" userId="92968fce-d4dd-4b9e-8635-66a07c9f98a7" providerId="ADAL" clId="{3A6F4128-6482-4C75-8C7D-220A75826C22}" dt="2023-07-21T22:32:16.925" v="13571" actId="108"/>
          <ac:spMkLst>
            <pc:docMk/>
            <pc:sldMk cId="3896415740" sldId="2146846419"/>
            <ac:spMk id="9" creationId="{DCE765C9-F866-A10C-05BC-B0F5CF7D4FA9}"/>
          </ac:spMkLst>
        </pc:spChg>
        <pc:spChg chg="add">
          <ac:chgData name="Md Fahim Hasan" userId="92968fce-d4dd-4b9e-8635-66a07c9f98a7" providerId="ADAL" clId="{3A6F4128-6482-4C75-8C7D-220A75826C22}" dt="2023-07-21T22:31:49.819" v="13562" actId="26606"/>
          <ac:spMkLst>
            <pc:docMk/>
            <pc:sldMk cId="3896415740" sldId="2146846419"/>
            <ac:spMk id="18" creationId="{35F60170-91B4-45F0-B88B-9C07AEC4642C}"/>
          </ac:spMkLst>
        </pc:spChg>
        <pc:spChg chg="add">
          <ac:chgData name="Md Fahim Hasan" userId="92968fce-d4dd-4b9e-8635-66a07c9f98a7" providerId="ADAL" clId="{3A6F4128-6482-4C75-8C7D-220A75826C22}" dt="2023-07-21T22:31:49.819" v="13562" actId="26606"/>
          <ac:spMkLst>
            <pc:docMk/>
            <pc:sldMk cId="3896415740" sldId="2146846419"/>
            <ac:spMk id="19" creationId="{2C7D7C94-41C0-4614-8A18-941174D4D2AF}"/>
          </ac:spMkLst>
        </pc:spChg>
        <pc:spChg chg="del">
          <ac:chgData name="Md Fahim Hasan" userId="92968fce-d4dd-4b9e-8635-66a07c9f98a7" providerId="ADAL" clId="{3A6F4128-6482-4C75-8C7D-220A75826C22}" dt="2023-07-21T22:31:14.427" v="13508"/>
          <ac:spMkLst>
            <pc:docMk/>
            <pc:sldMk cId="3896415740" sldId="2146846419"/>
            <ac:spMk id="20" creationId="{35F60170-91B4-45F0-B88B-9C07AEC4642C}"/>
          </ac:spMkLst>
        </pc:spChg>
        <pc:spChg chg="del">
          <ac:chgData name="Md Fahim Hasan" userId="92968fce-d4dd-4b9e-8635-66a07c9f98a7" providerId="ADAL" clId="{3A6F4128-6482-4C75-8C7D-220A75826C22}" dt="2023-07-21T22:31:14.427" v="13508"/>
          <ac:spMkLst>
            <pc:docMk/>
            <pc:sldMk cId="3896415740" sldId="2146846419"/>
            <ac:spMk id="22" creationId="{2C7D7C94-41C0-4614-8A18-941174D4D2AF}"/>
          </ac:spMkLst>
        </pc:spChg>
        <pc:grpChg chg="del">
          <ac:chgData name="Md Fahim Hasan" userId="92968fce-d4dd-4b9e-8635-66a07c9f98a7" providerId="ADAL" clId="{3A6F4128-6482-4C75-8C7D-220A75826C22}" dt="2023-07-21T22:31:14.427" v="13508"/>
          <ac:grpSpMkLst>
            <pc:docMk/>
            <pc:sldMk cId="3896415740" sldId="2146846419"/>
            <ac:grpSpMk id="17" creationId="{65B3D45F-509E-43F3-B685-A5E78AD0D820}"/>
          </ac:grpSpMkLst>
        </pc:grpChg>
        <pc:grpChg chg="add">
          <ac:chgData name="Md Fahim Hasan" userId="92968fce-d4dd-4b9e-8635-66a07c9f98a7" providerId="ADAL" clId="{3A6F4128-6482-4C75-8C7D-220A75826C22}" dt="2023-07-21T22:31:49.819" v="13562" actId="26606"/>
          <ac:grpSpMkLst>
            <pc:docMk/>
            <pc:sldMk cId="3896415740" sldId="2146846419"/>
            <ac:grpSpMk id="28" creationId="{65B3D45F-509E-43F3-B685-A5E78AD0D820}"/>
          </ac:grpSpMkLst>
        </pc:grpChg>
        <pc:picChg chg="ord">
          <ac:chgData name="Md Fahim Hasan" userId="92968fce-d4dd-4b9e-8635-66a07c9f98a7" providerId="ADAL" clId="{3A6F4128-6482-4C75-8C7D-220A75826C22}" dt="2023-07-21T22:31:49.819" v="13562" actId="26606"/>
          <ac:picMkLst>
            <pc:docMk/>
            <pc:sldMk cId="3896415740" sldId="2146846419"/>
            <ac:picMk id="15" creationId="{B0F7B2C1-02FD-AB52-1E28-5A1C0EE1123A}"/>
          </ac:picMkLst>
        </pc:picChg>
        <pc:cxnChg chg="add">
          <ac:chgData name="Md Fahim Hasan" userId="92968fce-d4dd-4b9e-8635-66a07c9f98a7" providerId="ADAL" clId="{3A6F4128-6482-4C75-8C7D-220A75826C22}" dt="2023-07-21T22:31:49.819" v="13562" actId="26606"/>
          <ac:cxnSpMkLst>
            <pc:docMk/>
            <pc:sldMk cId="3896415740" sldId="2146846419"/>
            <ac:cxnSpMk id="21" creationId="{61F6FBC1-6409-4059-B87B-1BE513242FE6}"/>
          </ac:cxnSpMkLst>
        </pc:cxnChg>
        <pc:cxnChg chg="add">
          <ac:chgData name="Md Fahim Hasan" userId="92968fce-d4dd-4b9e-8635-66a07c9f98a7" providerId="ADAL" clId="{3A6F4128-6482-4C75-8C7D-220A75826C22}" dt="2023-07-21T22:31:49.819" v="13562" actId="26606"/>
          <ac:cxnSpMkLst>
            <pc:docMk/>
            <pc:sldMk cId="3896415740" sldId="2146846419"/>
            <ac:cxnSpMk id="23" creationId="{E6A98E26-C7DC-48E3-8F50-FBF7F3C50F4C}"/>
          </ac:cxnSpMkLst>
        </pc:cxnChg>
        <pc:cxnChg chg="del">
          <ac:chgData name="Md Fahim Hasan" userId="92968fce-d4dd-4b9e-8635-66a07c9f98a7" providerId="ADAL" clId="{3A6F4128-6482-4C75-8C7D-220A75826C22}" dt="2023-07-21T22:31:14.427" v="13508"/>
          <ac:cxnSpMkLst>
            <pc:docMk/>
            <pc:sldMk cId="3896415740" sldId="2146846419"/>
            <ac:cxnSpMk id="24" creationId="{61F6FBC1-6409-4059-B87B-1BE513242FE6}"/>
          </ac:cxnSpMkLst>
        </pc:cxnChg>
        <pc:cxnChg chg="del">
          <ac:chgData name="Md Fahim Hasan" userId="92968fce-d4dd-4b9e-8635-66a07c9f98a7" providerId="ADAL" clId="{3A6F4128-6482-4C75-8C7D-220A75826C22}" dt="2023-07-21T22:31:14.427" v="13508"/>
          <ac:cxnSpMkLst>
            <pc:docMk/>
            <pc:sldMk cId="3896415740" sldId="2146846419"/>
            <ac:cxnSpMk id="26" creationId="{E6A98E26-C7DC-48E3-8F50-FBF7F3C50F4C}"/>
          </ac:cxnSpMkLst>
        </pc:cxnChg>
      </pc:sldChg>
      <pc:sldChg chg="addSp delSp modSp add mod ord delAnim modAnim modNotesTx">
        <pc:chgData name="Md Fahim Hasan" userId="92968fce-d4dd-4b9e-8635-66a07c9f98a7" providerId="ADAL" clId="{3A6F4128-6482-4C75-8C7D-220A75826C22}" dt="2023-07-27T20:28:21.750" v="37964" actId="20577"/>
        <pc:sldMkLst>
          <pc:docMk/>
          <pc:sldMk cId="3091098860" sldId="2146846420"/>
        </pc:sldMkLst>
        <pc:spChg chg="mod">
          <ac:chgData name="Md Fahim Hasan" userId="92968fce-d4dd-4b9e-8635-66a07c9f98a7" providerId="ADAL" clId="{3A6F4128-6482-4C75-8C7D-220A75826C22}" dt="2023-07-27T15:51:58.279" v="35706"/>
          <ac:spMkLst>
            <pc:docMk/>
            <pc:sldMk cId="3091098860" sldId="2146846420"/>
            <ac:spMk id="2" creationId="{01022AA2-4ED6-33F1-DCC7-83E7BA387B4B}"/>
          </ac:spMkLst>
        </pc:spChg>
        <pc:spChg chg="add mod">
          <ac:chgData name="Md Fahim Hasan" userId="92968fce-d4dd-4b9e-8635-66a07c9f98a7" providerId="ADAL" clId="{3A6F4128-6482-4C75-8C7D-220A75826C22}" dt="2023-07-27T17:06:57.814" v="36785" actId="20577"/>
          <ac:spMkLst>
            <pc:docMk/>
            <pc:sldMk cId="3091098860" sldId="2146846420"/>
            <ac:spMk id="3" creationId="{76C83492-675C-BDF8-08D6-D05F59107492}"/>
          </ac:spMkLst>
        </pc:spChg>
        <pc:spChg chg="del">
          <ac:chgData name="Md Fahim Hasan" userId="92968fce-d4dd-4b9e-8635-66a07c9f98a7" providerId="ADAL" clId="{3A6F4128-6482-4C75-8C7D-220A75826C22}" dt="2023-07-21T22:33:35.580" v="13584" actId="478"/>
          <ac:spMkLst>
            <pc:docMk/>
            <pc:sldMk cId="3091098860" sldId="2146846420"/>
            <ac:spMk id="4" creationId="{59A6018B-9E1B-2CF1-7DA2-59B339EE12B2}"/>
          </ac:spMkLst>
        </pc:spChg>
        <pc:spChg chg="add del mod">
          <ac:chgData name="Md Fahim Hasan" userId="92968fce-d4dd-4b9e-8635-66a07c9f98a7" providerId="ADAL" clId="{3A6F4128-6482-4C75-8C7D-220A75826C22}" dt="2023-07-21T22:40:11.118" v="13740" actId="478"/>
          <ac:spMkLst>
            <pc:docMk/>
            <pc:sldMk cId="3091098860" sldId="2146846420"/>
            <ac:spMk id="6" creationId="{58290EA4-958B-62A2-D894-33350541F9D9}"/>
          </ac:spMkLst>
        </pc:spChg>
        <pc:spChg chg="add del mod">
          <ac:chgData name="Md Fahim Hasan" userId="92968fce-d4dd-4b9e-8635-66a07c9f98a7" providerId="ADAL" clId="{3A6F4128-6482-4C75-8C7D-220A75826C22}" dt="2023-07-26T15:46:27.566" v="21758" actId="478"/>
          <ac:spMkLst>
            <pc:docMk/>
            <pc:sldMk cId="3091098860" sldId="2146846420"/>
            <ac:spMk id="6" creationId="{CDFE7E05-6304-E9E3-446A-5B56956DD37A}"/>
          </ac:spMkLst>
        </pc:spChg>
        <pc:spChg chg="mod">
          <ac:chgData name="Md Fahim Hasan" userId="92968fce-d4dd-4b9e-8635-66a07c9f98a7" providerId="ADAL" clId="{3A6F4128-6482-4C75-8C7D-220A75826C22}" dt="2023-07-27T20:28:21.750" v="37964" actId="20577"/>
          <ac:spMkLst>
            <pc:docMk/>
            <pc:sldMk cId="3091098860" sldId="2146846420"/>
            <ac:spMk id="9" creationId="{DCE765C9-F866-A10C-05BC-B0F5CF7D4FA9}"/>
          </ac:spMkLst>
        </pc:spChg>
        <pc:spChg chg="add mod">
          <ac:chgData name="Md Fahim Hasan" userId="92968fce-d4dd-4b9e-8635-66a07c9f98a7" providerId="ADAL" clId="{3A6F4128-6482-4C75-8C7D-220A75826C22}" dt="2023-07-26T15:47:40.890" v="21759" actId="5793"/>
          <ac:spMkLst>
            <pc:docMk/>
            <pc:sldMk cId="3091098860" sldId="2146846420"/>
            <ac:spMk id="10" creationId="{0493CA3C-A4A5-7D4C-211C-75EC0115E151}"/>
          </ac:spMkLst>
        </pc:spChg>
        <pc:spChg chg="add del mod">
          <ac:chgData name="Md Fahim Hasan" userId="92968fce-d4dd-4b9e-8635-66a07c9f98a7" providerId="ADAL" clId="{3A6F4128-6482-4C75-8C7D-220A75826C22}" dt="2023-07-21T23:02:08.377" v="13981" actId="478"/>
          <ac:spMkLst>
            <pc:docMk/>
            <pc:sldMk cId="3091098860" sldId="2146846420"/>
            <ac:spMk id="13" creationId="{55DD7796-70F6-E139-2329-FE1A0A16A7ED}"/>
          </ac:spMkLst>
        </pc:spChg>
        <pc:spChg chg="del">
          <ac:chgData name="Md Fahim Hasan" userId="92968fce-d4dd-4b9e-8635-66a07c9f98a7" providerId="ADAL" clId="{3A6F4128-6482-4C75-8C7D-220A75826C22}" dt="2023-07-21T22:33:38.424" v="13586" actId="478"/>
          <ac:spMkLst>
            <pc:docMk/>
            <pc:sldMk cId="3091098860" sldId="2146846420"/>
            <ac:spMk id="14" creationId="{C1FF783D-9D48-5F9F-F53C-427DF5C7F34C}"/>
          </ac:spMkLst>
        </pc:spChg>
        <pc:spChg chg="add del mod">
          <ac:chgData name="Md Fahim Hasan" userId="92968fce-d4dd-4b9e-8635-66a07c9f98a7" providerId="ADAL" clId="{3A6F4128-6482-4C75-8C7D-220A75826C22}" dt="2023-07-21T22:58:31.154" v="13928"/>
          <ac:spMkLst>
            <pc:docMk/>
            <pc:sldMk cId="3091098860" sldId="2146846420"/>
            <ac:spMk id="15" creationId="{E85A562D-8BAA-5DEE-2A55-AFB4E5FE32A1}"/>
          </ac:spMkLst>
        </pc:spChg>
        <pc:spChg chg="add mod">
          <ac:chgData name="Md Fahim Hasan" userId="92968fce-d4dd-4b9e-8635-66a07c9f98a7" providerId="ADAL" clId="{3A6F4128-6482-4C75-8C7D-220A75826C22}" dt="2023-07-21T22:59:39.911" v="13931"/>
          <ac:spMkLst>
            <pc:docMk/>
            <pc:sldMk cId="3091098860" sldId="2146846420"/>
            <ac:spMk id="16" creationId="{E1D5A8CA-E18A-9013-002D-ECA1C349ACB2}"/>
          </ac:spMkLst>
        </pc:spChg>
        <pc:spChg chg="del">
          <ac:chgData name="Md Fahim Hasan" userId="92968fce-d4dd-4b9e-8635-66a07c9f98a7" providerId="ADAL" clId="{3A6F4128-6482-4C75-8C7D-220A75826C22}" dt="2023-07-21T22:33:36.862" v="13585" actId="478"/>
          <ac:spMkLst>
            <pc:docMk/>
            <pc:sldMk cId="3091098860" sldId="2146846420"/>
            <ac:spMk id="18" creationId="{40D5597F-54EF-1475-073B-DAC1B7EDD096}"/>
          </ac:spMkLst>
        </pc:spChg>
        <pc:spChg chg="add del mod">
          <ac:chgData name="Md Fahim Hasan" userId="92968fce-d4dd-4b9e-8635-66a07c9f98a7" providerId="ADAL" clId="{3A6F4128-6482-4C75-8C7D-220A75826C22}" dt="2023-07-21T22:59:56.832" v="13935" actId="478"/>
          <ac:spMkLst>
            <pc:docMk/>
            <pc:sldMk cId="3091098860" sldId="2146846420"/>
            <ac:spMk id="19" creationId="{6B7C98D5-26B3-6406-9F38-656D94FE104F}"/>
          </ac:spMkLst>
        </pc:spChg>
        <pc:spChg chg="add del mod">
          <ac:chgData name="Md Fahim Hasan" userId="92968fce-d4dd-4b9e-8635-66a07c9f98a7" providerId="ADAL" clId="{3A6F4128-6482-4C75-8C7D-220A75826C22}" dt="2023-07-21T23:00:20.759" v="13944" actId="478"/>
          <ac:spMkLst>
            <pc:docMk/>
            <pc:sldMk cId="3091098860" sldId="2146846420"/>
            <ac:spMk id="20" creationId="{CC0BCD36-84D4-AD28-56D4-208C6E2514DA}"/>
          </ac:spMkLst>
        </pc:spChg>
        <pc:spChg chg="add mod">
          <ac:chgData name="Md Fahim Hasan" userId="92968fce-d4dd-4b9e-8635-66a07c9f98a7" providerId="ADAL" clId="{3A6F4128-6482-4C75-8C7D-220A75826C22}" dt="2023-07-21T23:02:14.801" v="13982" actId="1076"/>
          <ac:spMkLst>
            <pc:docMk/>
            <pc:sldMk cId="3091098860" sldId="2146846420"/>
            <ac:spMk id="21" creationId="{8BBD99BD-72B6-B1F3-A76A-4FE9DD5EA5DC}"/>
          </ac:spMkLst>
        </pc:spChg>
        <pc:grpChg chg="add mod">
          <ac:chgData name="Md Fahim Hasan" userId="92968fce-d4dd-4b9e-8635-66a07c9f98a7" providerId="ADAL" clId="{3A6F4128-6482-4C75-8C7D-220A75826C22}" dt="2023-07-21T23:02:24.439" v="13985" actId="1076"/>
          <ac:grpSpMkLst>
            <pc:docMk/>
            <pc:sldMk cId="3091098860" sldId="2146846420"/>
            <ac:grpSpMk id="17" creationId="{64FBD80A-68D5-FAA2-CDB2-774F6A09765B}"/>
          </ac:grpSpMkLst>
        </pc:grpChg>
        <pc:picChg chg="add mod">
          <ac:chgData name="Md Fahim Hasan" userId="92968fce-d4dd-4b9e-8635-66a07c9f98a7" providerId="ADAL" clId="{3A6F4128-6482-4C75-8C7D-220A75826C22}" dt="2023-07-21T22:58:34.441" v="13929" actId="164"/>
          <ac:picMkLst>
            <pc:docMk/>
            <pc:sldMk cId="3091098860" sldId="2146846420"/>
            <ac:picMk id="8" creationId="{C67A9180-74C5-2B09-DEAF-F24C087AFB7A}"/>
          </ac:picMkLst>
        </pc:picChg>
        <pc:picChg chg="add mod">
          <ac:chgData name="Md Fahim Hasan" userId="92968fce-d4dd-4b9e-8635-66a07c9f98a7" providerId="ADAL" clId="{3A6F4128-6482-4C75-8C7D-220A75826C22}" dt="2023-07-25T17:14:06.521" v="18372" actId="1076"/>
          <ac:picMkLst>
            <pc:docMk/>
            <pc:sldMk cId="3091098860" sldId="2146846420"/>
            <ac:picMk id="12" creationId="{90ABC447-2E42-0759-A4D9-C6C53471FABF}"/>
          </ac:picMkLst>
        </pc:picChg>
        <pc:cxnChg chg="add del mod">
          <ac:chgData name="Md Fahim Hasan" userId="92968fce-d4dd-4b9e-8635-66a07c9f98a7" providerId="ADAL" clId="{3A6F4128-6482-4C75-8C7D-220A75826C22}" dt="2023-07-26T15:46:27.566" v="21758" actId="478"/>
          <ac:cxnSpMkLst>
            <pc:docMk/>
            <pc:sldMk cId="3091098860" sldId="2146846420"/>
            <ac:cxnSpMk id="5" creationId="{574A5DFC-E7EF-DEE4-7465-FB1BC7318588}"/>
          </ac:cxnSpMkLst>
        </pc:cxnChg>
      </pc:sldChg>
      <pc:sldChg chg="modSp add mod ord">
        <pc:chgData name="Md Fahim Hasan" userId="92968fce-d4dd-4b9e-8635-66a07c9f98a7" providerId="ADAL" clId="{3A6F4128-6482-4C75-8C7D-220A75826C22}" dt="2023-07-27T19:38:29.886" v="37471" actId="27636"/>
        <pc:sldMkLst>
          <pc:docMk/>
          <pc:sldMk cId="1473364542" sldId="2146846421"/>
        </pc:sldMkLst>
        <pc:spChg chg="mod">
          <ac:chgData name="Md Fahim Hasan" userId="92968fce-d4dd-4b9e-8635-66a07c9f98a7" providerId="ADAL" clId="{3A6F4128-6482-4C75-8C7D-220A75826C22}" dt="2023-07-27T15:51:58.279" v="35706"/>
          <ac:spMkLst>
            <pc:docMk/>
            <pc:sldMk cId="1473364542" sldId="2146846421"/>
            <ac:spMk id="3" creationId="{B32175AB-1DB3-5446-7E5C-A305118EF0B3}"/>
          </ac:spMkLst>
        </pc:spChg>
        <pc:spChg chg="mod">
          <ac:chgData name="Md Fahim Hasan" userId="92968fce-d4dd-4b9e-8635-66a07c9f98a7" providerId="ADAL" clId="{3A6F4128-6482-4C75-8C7D-220A75826C22}" dt="2023-07-27T19:38:29.886" v="37471" actId="27636"/>
          <ac:spMkLst>
            <pc:docMk/>
            <pc:sldMk cId="1473364542" sldId="2146846421"/>
            <ac:spMk id="9" creationId="{DCE765C9-F866-A10C-05BC-B0F5CF7D4FA9}"/>
          </ac:spMkLst>
        </pc:spChg>
        <pc:picChg chg="mod">
          <ac:chgData name="Md Fahim Hasan" userId="92968fce-d4dd-4b9e-8635-66a07c9f98a7" providerId="ADAL" clId="{3A6F4128-6482-4C75-8C7D-220A75826C22}" dt="2023-07-26T23:39:07.876" v="30948" actId="14826"/>
          <ac:picMkLst>
            <pc:docMk/>
            <pc:sldMk cId="1473364542" sldId="2146846421"/>
            <ac:picMk id="2" creationId="{C4F21C2E-6869-30CB-DB14-9CB4794C171D}"/>
          </ac:picMkLst>
        </pc:picChg>
        <pc:picChg chg="mod">
          <ac:chgData name="Md Fahim Hasan" userId="92968fce-d4dd-4b9e-8635-66a07c9f98a7" providerId="ADAL" clId="{3A6F4128-6482-4C75-8C7D-220A75826C22}" dt="2023-07-26T23:38:40.783" v="30946" actId="14826"/>
          <ac:picMkLst>
            <pc:docMk/>
            <pc:sldMk cId="1473364542" sldId="2146846421"/>
            <ac:picMk id="23" creationId="{2E82135A-B0F3-5B97-131F-16F643ACC49B}"/>
          </ac:picMkLst>
        </pc:picChg>
      </pc:sldChg>
      <pc:sldChg chg="addSp delSp modSp add mod delAnim">
        <pc:chgData name="Md Fahim Hasan" userId="92968fce-d4dd-4b9e-8635-66a07c9f98a7" providerId="ADAL" clId="{3A6F4128-6482-4C75-8C7D-220A75826C22}" dt="2023-07-27T15:51:58.279" v="35706"/>
        <pc:sldMkLst>
          <pc:docMk/>
          <pc:sldMk cId="1052435917" sldId="2146846422"/>
        </pc:sldMkLst>
        <pc:spChg chg="mod">
          <ac:chgData name="Md Fahim Hasan" userId="92968fce-d4dd-4b9e-8635-66a07c9f98a7" providerId="ADAL" clId="{3A6F4128-6482-4C75-8C7D-220A75826C22}" dt="2023-07-27T15:51:58.279" v="35706"/>
          <ac:spMkLst>
            <pc:docMk/>
            <pc:sldMk cId="1052435917" sldId="2146846422"/>
            <ac:spMk id="2" creationId="{99AE1A04-85B3-C2B8-36C1-23AD8083AA4B}"/>
          </ac:spMkLst>
        </pc:spChg>
        <pc:spChg chg="add mod">
          <ac:chgData name="Md Fahim Hasan" userId="92968fce-d4dd-4b9e-8635-66a07c9f98a7" providerId="ADAL" clId="{3A6F4128-6482-4C75-8C7D-220A75826C22}" dt="2023-07-25T20:32:26.338" v="20639" actId="115"/>
          <ac:spMkLst>
            <pc:docMk/>
            <pc:sldMk cId="1052435917" sldId="2146846422"/>
            <ac:spMk id="4" creationId="{07BBA27D-027A-E644-50E4-A8E16BCA174A}"/>
          </ac:spMkLst>
        </pc:spChg>
        <pc:spChg chg="mod">
          <ac:chgData name="Md Fahim Hasan" userId="92968fce-d4dd-4b9e-8635-66a07c9f98a7" providerId="ADAL" clId="{3A6F4128-6482-4C75-8C7D-220A75826C22}" dt="2023-07-25T20:31:56.624" v="20614" actId="1076"/>
          <ac:spMkLst>
            <pc:docMk/>
            <pc:sldMk cId="1052435917" sldId="2146846422"/>
            <ac:spMk id="9" creationId="{DCE765C9-F866-A10C-05BC-B0F5CF7D4FA9}"/>
          </ac:spMkLst>
        </pc:spChg>
        <pc:spChg chg="del">
          <ac:chgData name="Md Fahim Hasan" userId="92968fce-d4dd-4b9e-8635-66a07c9f98a7" providerId="ADAL" clId="{3A6F4128-6482-4C75-8C7D-220A75826C22}" dt="2023-07-25T20:29:10.058" v="20565" actId="21"/>
          <ac:spMkLst>
            <pc:docMk/>
            <pc:sldMk cId="1052435917" sldId="2146846422"/>
            <ac:spMk id="10" creationId="{857B749E-6732-0406-D2BE-7CDBCA431B79}"/>
          </ac:spMkLst>
        </pc:spChg>
        <pc:spChg chg="del">
          <ac:chgData name="Md Fahim Hasan" userId="92968fce-d4dd-4b9e-8635-66a07c9f98a7" providerId="ADAL" clId="{3A6F4128-6482-4C75-8C7D-220A75826C22}" dt="2023-07-25T20:29:10.058" v="20565" actId="21"/>
          <ac:spMkLst>
            <pc:docMk/>
            <pc:sldMk cId="1052435917" sldId="2146846422"/>
            <ac:spMk id="13" creationId="{0DBAA058-1504-E777-7B09-F0DFF0A0CF99}"/>
          </ac:spMkLst>
        </pc:spChg>
        <pc:spChg chg="del">
          <ac:chgData name="Md Fahim Hasan" userId="92968fce-d4dd-4b9e-8635-66a07c9f98a7" providerId="ADAL" clId="{3A6F4128-6482-4C75-8C7D-220A75826C22}" dt="2023-07-25T20:29:10.058" v="20565" actId="21"/>
          <ac:spMkLst>
            <pc:docMk/>
            <pc:sldMk cId="1052435917" sldId="2146846422"/>
            <ac:spMk id="19" creationId="{F5E98535-C369-7EFF-A731-20DBAFF5BD2C}"/>
          </ac:spMkLst>
        </pc:spChg>
        <pc:spChg chg="del">
          <ac:chgData name="Md Fahim Hasan" userId="92968fce-d4dd-4b9e-8635-66a07c9f98a7" providerId="ADAL" clId="{3A6F4128-6482-4C75-8C7D-220A75826C22}" dt="2023-07-25T20:29:10.058" v="20565" actId="21"/>
          <ac:spMkLst>
            <pc:docMk/>
            <pc:sldMk cId="1052435917" sldId="2146846422"/>
            <ac:spMk id="20" creationId="{1DE051DC-3F4E-DFDD-A032-C1B0BB72BF6D}"/>
          </ac:spMkLst>
        </pc:spChg>
        <pc:spChg chg="del">
          <ac:chgData name="Md Fahim Hasan" userId="92968fce-d4dd-4b9e-8635-66a07c9f98a7" providerId="ADAL" clId="{3A6F4128-6482-4C75-8C7D-220A75826C22}" dt="2023-07-25T20:29:10.058" v="20565" actId="21"/>
          <ac:spMkLst>
            <pc:docMk/>
            <pc:sldMk cId="1052435917" sldId="2146846422"/>
            <ac:spMk id="21" creationId="{50793ED0-B4CD-50DB-3B4A-57FCDEB52756}"/>
          </ac:spMkLst>
        </pc:spChg>
        <pc:spChg chg="del">
          <ac:chgData name="Md Fahim Hasan" userId="92968fce-d4dd-4b9e-8635-66a07c9f98a7" providerId="ADAL" clId="{3A6F4128-6482-4C75-8C7D-220A75826C22}" dt="2023-07-25T20:29:10.058" v="20565" actId="21"/>
          <ac:spMkLst>
            <pc:docMk/>
            <pc:sldMk cId="1052435917" sldId="2146846422"/>
            <ac:spMk id="22" creationId="{EB753DD7-438C-13DC-C408-3AF0BD2E70E9}"/>
          </ac:spMkLst>
        </pc:spChg>
        <pc:picChg chg="mod">
          <ac:chgData name="Md Fahim Hasan" userId="92968fce-d4dd-4b9e-8635-66a07c9f98a7" providerId="ADAL" clId="{3A6F4128-6482-4C75-8C7D-220A75826C22}" dt="2023-07-25T20:32:14.380" v="20618" actId="1076"/>
          <ac:picMkLst>
            <pc:docMk/>
            <pc:sldMk cId="1052435917" sldId="2146846422"/>
            <ac:picMk id="3" creationId="{16BBEA49-B7C7-2619-44DA-70CDEE7990C0}"/>
          </ac:picMkLst>
        </pc:picChg>
      </pc:sldChg>
      <pc:sldChg chg="modSp add del mod">
        <pc:chgData name="Md Fahim Hasan" userId="92968fce-d4dd-4b9e-8635-66a07c9f98a7" providerId="ADAL" clId="{3A6F4128-6482-4C75-8C7D-220A75826C22}" dt="2023-07-25T18:59:14.378" v="19450" actId="2696"/>
        <pc:sldMkLst>
          <pc:docMk/>
          <pc:sldMk cId="2155248415" sldId="2146846422"/>
        </pc:sldMkLst>
        <pc:spChg chg="mod">
          <ac:chgData name="Md Fahim Hasan" userId="92968fce-d4dd-4b9e-8635-66a07c9f98a7" providerId="ADAL" clId="{3A6F4128-6482-4C75-8C7D-220A75826C22}" dt="2023-07-24T16:32:28.701" v="15199" actId="1076"/>
          <ac:spMkLst>
            <pc:docMk/>
            <pc:sldMk cId="2155248415" sldId="2146846422"/>
            <ac:spMk id="9" creationId="{DCE765C9-F866-A10C-05BC-B0F5CF7D4FA9}"/>
          </ac:spMkLst>
        </pc:spChg>
        <pc:picChg chg="mod">
          <ac:chgData name="Md Fahim Hasan" userId="92968fce-d4dd-4b9e-8635-66a07c9f98a7" providerId="ADAL" clId="{3A6F4128-6482-4C75-8C7D-220A75826C22}" dt="2023-07-21T23:22:16.808" v="14130" actId="14826"/>
          <ac:picMkLst>
            <pc:docMk/>
            <pc:sldMk cId="2155248415" sldId="2146846422"/>
            <ac:picMk id="3" creationId="{16BBEA49-B7C7-2619-44DA-70CDEE7990C0}"/>
          </ac:picMkLst>
        </pc:picChg>
      </pc:sldChg>
      <pc:sldChg chg="addSp modSp add mod modNotesTx">
        <pc:chgData name="Md Fahim Hasan" userId="92968fce-d4dd-4b9e-8635-66a07c9f98a7" providerId="ADAL" clId="{3A6F4128-6482-4C75-8C7D-220A75826C22}" dt="2023-07-27T15:51:58.279" v="35706"/>
        <pc:sldMkLst>
          <pc:docMk/>
          <pc:sldMk cId="987091660" sldId="2146846423"/>
        </pc:sldMkLst>
        <pc:spChg chg="mod">
          <ac:chgData name="Md Fahim Hasan" userId="92968fce-d4dd-4b9e-8635-66a07c9f98a7" providerId="ADAL" clId="{3A6F4128-6482-4C75-8C7D-220A75826C22}" dt="2023-07-27T15:51:58.279" v="35706"/>
          <ac:spMkLst>
            <pc:docMk/>
            <pc:sldMk cId="987091660" sldId="2146846423"/>
            <ac:spMk id="2" creationId="{99AE1A04-85B3-C2B8-36C1-23AD8083AA4B}"/>
          </ac:spMkLst>
        </pc:spChg>
        <pc:spChg chg="add mod">
          <ac:chgData name="Md Fahim Hasan" userId="92968fce-d4dd-4b9e-8635-66a07c9f98a7" providerId="ADAL" clId="{3A6F4128-6482-4C75-8C7D-220A75826C22}" dt="2023-07-25T20:26:33.938" v="20506" actId="20577"/>
          <ac:spMkLst>
            <pc:docMk/>
            <pc:sldMk cId="987091660" sldId="2146846423"/>
            <ac:spMk id="4" creationId="{8D2E76D9-60D8-0BDB-2B6A-146386004ACC}"/>
          </ac:spMkLst>
        </pc:spChg>
        <pc:spChg chg="mod">
          <ac:chgData name="Md Fahim Hasan" userId="92968fce-d4dd-4b9e-8635-66a07c9f98a7" providerId="ADAL" clId="{3A6F4128-6482-4C75-8C7D-220A75826C22}" dt="2023-07-25T20:26:56.002" v="20513" actId="1076"/>
          <ac:spMkLst>
            <pc:docMk/>
            <pc:sldMk cId="987091660" sldId="2146846423"/>
            <ac:spMk id="9" creationId="{DCE765C9-F866-A10C-05BC-B0F5CF7D4FA9}"/>
          </ac:spMkLst>
        </pc:spChg>
        <pc:picChg chg="mod">
          <ac:chgData name="Md Fahim Hasan" userId="92968fce-d4dd-4b9e-8635-66a07c9f98a7" providerId="ADAL" clId="{3A6F4128-6482-4C75-8C7D-220A75826C22}" dt="2023-07-25T20:25:45.650" v="20478" actId="1076"/>
          <ac:picMkLst>
            <pc:docMk/>
            <pc:sldMk cId="987091660" sldId="2146846423"/>
            <ac:picMk id="3" creationId="{16BBEA49-B7C7-2619-44DA-70CDEE7990C0}"/>
          </ac:picMkLst>
        </pc:picChg>
      </pc:sldChg>
      <pc:sldChg chg="addSp modSp add mod ord modNotesTx">
        <pc:chgData name="Md Fahim Hasan" userId="92968fce-d4dd-4b9e-8635-66a07c9f98a7" providerId="ADAL" clId="{3A6F4128-6482-4C75-8C7D-220A75826C22}" dt="2023-07-27T15:51:58.279" v="35706"/>
        <pc:sldMkLst>
          <pc:docMk/>
          <pc:sldMk cId="3932240654" sldId="2146846424"/>
        </pc:sldMkLst>
        <pc:spChg chg="mod">
          <ac:chgData name="Md Fahim Hasan" userId="92968fce-d4dd-4b9e-8635-66a07c9f98a7" providerId="ADAL" clId="{3A6F4128-6482-4C75-8C7D-220A75826C22}" dt="2023-07-27T15:51:58.279" v="35706"/>
          <ac:spMkLst>
            <pc:docMk/>
            <pc:sldMk cId="3932240654" sldId="2146846424"/>
            <ac:spMk id="2" creationId="{99AE1A04-85B3-C2B8-36C1-23AD8083AA4B}"/>
          </ac:spMkLst>
        </pc:spChg>
        <pc:spChg chg="add mod">
          <ac:chgData name="Md Fahim Hasan" userId="92968fce-d4dd-4b9e-8635-66a07c9f98a7" providerId="ADAL" clId="{3A6F4128-6482-4C75-8C7D-220A75826C22}" dt="2023-07-25T20:27:53.545" v="20559" actId="207"/>
          <ac:spMkLst>
            <pc:docMk/>
            <pc:sldMk cId="3932240654" sldId="2146846424"/>
            <ac:spMk id="4" creationId="{7F5F4019-3D4B-8395-A8BB-840FAF1EA8B1}"/>
          </ac:spMkLst>
        </pc:spChg>
        <pc:spChg chg="mod">
          <ac:chgData name="Md Fahim Hasan" userId="92968fce-d4dd-4b9e-8635-66a07c9f98a7" providerId="ADAL" clId="{3A6F4128-6482-4C75-8C7D-220A75826C22}" dt="2023-07-25T20:27:19.617" v="20520" actId="1076"/>
          <ac:spMkLst>
            <pc:docMk/>
            <pc:sldMk cId="3932240654" sldId="2146846424"/>
            <ac:spMk id="9" creationId="{DCE765C9-F866-A10C-05BC-B0F5CF7D4FA9}"/>
          </ac:spMkLst>
        </pc:spChg>
        <pc:picChg chg="mod">
          <ac:chgData name="Md Fahim Hasan" userId="92968fce-d4dd-4b9e-8635-66a07c9f98a7" providerId="ADAL" clId="{3A6F4128-6482-4C75-8C7D-220A75826C22}" dt="2023-07-25T20:26:23.110" v="20502" actId="1076"/>
          <ac:picMkLst>
            <pc:docMk/>
            <pc:sldMk cId="3932240654" sldId="2146846424"/>
            <ac:picMk id="3" creationId="{16BBEA49-B7C7-2619-44DA-70CDEE7990C0}"/>
          </ac:picMkLst>
        </pc:picChg>
      </pc:sldChg>
      <pc:sldChg chg="new del">
        <pc:chgData name="Md Fahim Hasan" userId="92968fce-d4dd-4b9e-8635-66a07c9f98a7" providerId="ADAL" clId="{3A6F4128-6482-4C75-8C7D-220A75826C22}" dt="2023-07-21T23:26:46.006" v="14150" actId="680"/>
        <pc:sldMkLst>
          <pc:docMk/>
          <pc:sldMk cId="2347350516" sldId="2146846425"/>
        </pc:sldMkLst>
      </pc:sldChg>
      <pc:sldChg chg="addSp delSp modSp add mod ord delAnim">
        <pc:chgData name="Md Fahim Hasan" userId="92968fce-d4dd-4b9e-8635-66a07c9f98a7" providerId="ADAL" clId="{3A6F4128-6482-4C75-8C7D-220A75826C22}" dt="2023-07-27T15:51:58.279" v="35706"/>
        <pc:sldMkLst>
          <pc:docMk/>
          <pc:sldMk cId="3866130774" sldId="2146846425"/>
        </pc:sldMkLst>
        <pc:spChg chg="del">
          <ac:chgData name="Md Fahim Hasan" userId="92968fce-d4dd-4b9e-8635-66a07c9f98a7" providerId="ADAL" clId="{3A6F4128-6482-4C75-8C7D-220A75826C22}" dt="2023-07-24T15:46:39.253" v="14467" actId="478"/>
          <ac:spMkLst>
            <pc:docMk/>
            <pc:sldMk cId="3866130774" sldId="2146846425"/>
            <ac:spMk id="2" creationId="{2D24C0E3-9AC6-9E0F-FEBB-E309F201ABEA}"/>
          </ac:spMkLst>
        </pc:spChg>
        <pc:spChg chg="mod">
          <ac:chgData name="Md Fahim Hasan" userId="92968fce-d4dd-4b9e-8635-66a07c9f98a7" providerId="ADAL" clId="{3A6F4128-6482-4C75-8C7D-220A75826C22}" dt="2023-07-27T15:51:58.279" v="35706"/>
          <ac:spMkLst>
            <pc:docMk/>
            <pc:sldMk cId="3866130774" sldId="2146846425"/>
            <ac:spMk id="3" creationId="{8F7366FC-D57D-85C7-3D1E-27B86798B5B2}"/>
          </ac:spMkLst>
        </pc:spChg>
        <pc:spChg chg="add mod">
          <ac:chgData name="Md Fahim Hasan" userId="92968fce-d4dd-4b9e-8635-66a07c9f98a7" providerId="ADAL" clId="{3A6F4128-6482-4C75-8C7D-220A75826C22}" dt="2023-07-24T16:21:26.152" v="15054" actId="20577"/>
          <ac:spMkLst>
            <pc:docMk/>
            <pc:sldMk cId="3866130774" sldId="2146846425"/>
            <ac:spMk id="6" creationId="{F9A90AC9-FF45-1DD7-CEB0-5E248581C50C}"/>
          </ac:spMkLst>
        </pc:spChg>
        <pc:spChg chg="add del mod">
          <ac:chgData name="Md Fahim Hasan" userId="92968fce-d4dd-4b9e-8635-66a07c9f98a7" providerId="ADAL" clId="{3A6F4128-6482-4C75-8C7D-220A75826C22}" dt="2023-07-24T15:46:29.673" v="14466" actId="20577"/>
          <ac:spMkLst>
            <pc:docMk/>
            <pc:sldMk cId="3866130774" sldId="2146846425"/>
            <ac:spMk id="9" creationId="{DCE765C9-F866-A10C-05BC-B0F5CF7D4FA9}"/>
          </ac:spMkLst>
        </pc:spChg>
        <pc:spChg chg="del">
          <ac:chgData name="Md Fahim Hasan" userId="92968fce-d4dd-4b9e-8635-66a07c9f98a7" providerId="ADAL" clId="{3A6F4128-6482-4C75-8C7D-220A75826C22}" dt="2023-07-24T15:46:39.253" v="14467" actId="478"/>
          <ac:spMkLst>
            <pc:docMk/>
            <pc:sldMk cId="3866130774" sldId="2146846425"/>
            <ac:spMk id="11" creationId="{34104EF3-AE2A-10CD-807A-5E8D98642890}"/>
          </ac:spMkLst>
        </pc:spChg>
        <pc:spChg chg="del">
          <ac:chgData name="Md Fahim Hasan" userId="92968fce-d4dd-4b9e-8635-66a07c9f98a7" providerId="ADAL" clId="{3A6F4128-6482-4C75-8C7D-220A75826C22}" dt="2023-07-24T15:46:39.253" v="14467" actId="478"/>
          <ac:spMkLst>
            <pc:docMk/>
            <pc:sldMk cId="3866130774" sldId="2146846425"/>
            <ac:spMk id="12" creationId="{563AE502-BE2B-F7DC-8070-3C524C7FC52F}"/>
          </ac:spMkLst>
        </pc:spChg>
        <pc:spChg chg="del">
          <ac:chgData name="Md Fahim Hasan" userId="92968fce-d4dd-4b9e-8635-66a07c9f98a7" providerId="ADAL" clId="{3A6F4128-6482-4C75-8C7D-220A75826C22}" dt="2023-07-24T15:46:39.253" v="14467" actId="478"/>
          <ac:spMkLst>
            <pc:docMk/>
            <pc:sldMk cId="3866130774" sldId="2146846425"/>
            <ac:spMk id="15" creationId="{A831B13C-8409-F4FA-2FD1-7B0D4DD54039}"/>
          </ac:spMkLst>
        </pc:spChg>
        <pc:spChg chg="del">
          <ac:chgData name="Md Fahim Hasan" userId="92968fce-d4dd-4b9e-8635-66a07c9f98a7" providerId="ADAL" clId="{3A6F4128-6482-4C75-8C7D-220A75826C22}" dt="2023-07-24T15:46:39.253" v="14467" actId="478"/>
          <ac:spMkLst>
            <pc:docMk/>
            <pc:sldMk cId="3866130774" sldId="2146846425"/>
            <ac:spMk id="16" creationId="{74FA2828-4265-79AB-6956-60772E0CBF25}"/>
          </ac:spMkLst>
        </pc:spChg>
        <pc:graphicFrameChg chg="add mod modGraphic">
          <ac:chgData name="Md Fahim Hasan" userId="92968fce-d4dd-4b9e-8635-66a07c9f98a7" providerId="ADAL" clId="{3A6F4128-6482-4C75-8C7D-220A75826C22}" dt="2023-07-24T16:20:49.807" v="15041" actId="20577"/>
          <ac:graphicFrameMkLst>
            <pc:docMk/>
            <pc:sldMk cId="3866130774" sldId="2146846425"/>
            <ac:graphicFrameMk id="5" creationId="{8954F76B-D164-244F-57F5-54AA63A6742C}"/>
          </ac:graphicFrameMkLst>
        </pc:graphicFrameChg>
        <pc:picChg chg="del">
          <ac:chgData name="Md Fahim Hasan" userId="92968fce-d4dd-4b9e-8635-66a07c9f98a7" providerId="ADAL" clId="{3A6F4128-6482-4C75-8C7D-220A75826C22}" dt="2023-07-24T15:46:39.253" v="14467" actId="478"/>
          <ac:picMkLst>
            <pc:docMk/>
            <pc:sldMk cId="3866130774" sldId="2146846425"/>
            <ac:picMk id="4" creationId="{1B7C3091-DEA4-66D1-884C-6CB2FD58DBE7}"/>
          </ac:picMkLst>
        </pc:picChg>
        <pc:picChg chg="del">
          <ac:chgData name="Md Fahim Hasan" userId="92968fce-d4dd-4b9e-8635-66a07c9f98a7" providerId="ADAL" clId="{3A6F4128-6482-4C75-8C7D-220A75826C22}" dt="2023-07-24T15:46:39.253" v="14467" actId="478"/>
          <ac:picMkLst>
            <pc:docMk/>
            <pc:sldMk cId="3866130774" sldId="2146846425"/>
            <ac:picMk id="7" creationId="{B5713B37-2314-473A-D0AE-587C49D1AB77}"/>
          </ac:picMkLst>
        </pc:picChg>
        <pc:picChg chg="del">
          <ac:chgData name="Md Fahim Hasan" userId="92968fce-d4dd-4b9e-8635-66a07c9f98a7" providerId="ADAL" clId="{3A6F4128-6482-4C75-8C7D-220A75826C22}" dt="2023-07-24T15:46:39.253" v="14467" actId="478"/>
          <ac:picMkLst>
            <pc:docMk/>
            <pc:sldMk cId="3866130774" sldId="2146846425"/>
            <ac:picMk id="13" creationId="{46FD433A-9C17-B9F2-33F5-318B3A425069}"/>
          </ac:picMkLst>
        </pc:picChg>
        <pc:picChg chg="del">
          <ac:chgData name="Md Fahim Hasan" userId="92968fce-d4dd-4b9e-8635-66a07c9f98a7" providerId="ADAL" clId="{3A6F4128-6482-4C75-8C7D-220A75826C22}" dt="2023-07-24T15:46:39.253" v="14467" actId="478"/>
          <ac:picMkLst>
            <pc:docMk/>
            <pc:sldMk cId="3866130774" sldId="2146846425"/>
            <ac:picMk id="14" creationId="{D31D8173-1F85-39E6-CA70-70E6E8DBB3C5}"/>
          </ac:picMkLst>
        </pc:picChg>
        <pc:cxnChg chg="del">
          <ac:chgData name="Md Fahim Hasan" userId="92968fce-d4dd-4b9e-8635-66a07c9f98a7" providerId="ADAL" clId="{3A6F4128-6482-4C75-8C7D-220A75826C22}" dt="2023-07-24T15:46:39.253" v="14467" actId="478"/>
          <ac:cxnSpMkLst>
            <pc:docMk/>
            <pc:sldMk cId="3866130774" sldId="2146846425"/>
            <ac:cxnSpMk id="24" creationId="{99D01E62-F77D-E62A-0C2D-824A66B5AD7B}"/>
          </ac:cxnSpMkLst>
        </pc:cxnChg>
      </pc:sldChg>
      <pc:sldChg chg="addSp delSp modSp add mod delAnim modNotesTx">
        <pc:chgData name="Md Fahim Hasan" userId="92968fce-d4dd-4b9e-8635-66a07c9f98a7" providerId="ADAL" clId="{3A6F4128-6482-4C75-8C7D-220A75826C22}" dt="2023-07-27T19:45:30.487" v="37600" actId="1076"/>
        <pc:sldMkLst>
          <pc:docMk/>
          <pc:sldMk cId="2294886516" sldId="2146846426"/>
        </pc:sldMkLst>
        <pc:spChg chg="add mod">
          <ac:chgData name="Md Fahim Hasan" userId="92968fce-d4dd-4b9e-8635-66a07c9f98a7" providerId="ADAL" clId="{3A6F4128-6482-4C75-8C7D-220A75826C22}" dt="2023-07-26T20:31:16.700" v="28459" actId="115"/>
          <ac:spMkLst>
            <pc:docMk/>
            <pc:sldMk cId="2294886516" sldId="2146846426"/>
            <ac:spMk id="2" creationId="{4F12E48C-FEAB-6C41-9C4F-9F5339F51EE2}"/>
          </ac:spMkLst>
        </pc:spChg>
        <pc:spChg chg="del">
          <ac:chgData name="Md Fahim Hasan" userId="92968fce-d4dd-4b9e-8635-66a07c9f98a7" providerId="ADAL" clId="{3A6F4128-6482-4C75-8C7D-220A75826C22}" dt="2023-07-24T16:26:29.799" v="15056" actId="478"/>
          <ac:spMkLst>
            <pc:docMk/>
            <pc:sldMk cId="2294886516" sldId="2146846426"/>
            <ac:spMk id="2" creationId="{D6F33AD6-BCD0-7BD2-5890-1C682DC785B4}"/>
          </ac:spMkLst>
        </pc:spChg>
        <pc:spChg chg="add mod">
          <ac:chgData name="Md Fahim Hasan" userId="92968fce-d4dd-4b9e-8635-66a07c9f98a7" providerId="ADAL" clId="{3A6F4128-6482-4C75-8C7D-220A75826C22}" dt="2023-07-26T20:29:49.872" v="28336" actId="20577"/>
          <ac:spMkLst>
            <pc:docMk/>
            <pc:sldMk cId="2294886516" sldId="2146846426"/>
            <ac:spMk id="3" creationId="{6EF2534A-6427-DD43-A57B-D7EDEEA6901D}"/>
          </ac:spMkLst>
        </pc:spChg>
        <pc:spChg chg="add mod">
          <ac:chgData name="Md Fahim Hasan" userId="92968fce-d4dd-4b9e-8635-66a07c9f98a7" providerId="ADAL" clId="{3A6F4128-6482-4C75-8C7D-220A75826C22}" dt="2023-07-27T19:45:30.487" v="37600" actId="1076"/>
          <ac:spMkLst>
            <pc:docMk/>
            <pc:sldMk cId="2294886516" sldId="2146846426"/>
            <ac:spMk id="4" creationId="{567C13A3-8F58-C44F-5F8E-F6795BD086F9}"/>
          </ac:spMkLst>
        </pc:spChg>
        <pc:spChg chg="add del mod">
          <ac:chgData name="Md Fahim Hasan" userId="92968fce-d4dd-4b9e-8635-66a07c9f98a7" providerId="ADAL" clId="{3A6F4128-6482-4C75-8C7D-220A75826C22}" dt="2023-07-25T17:18:02.633" v="18408" actId="478"/>
          <ac:spMkLst>
            <pc:docMk/>
            <pc:sldMk cId="2294886516" sldId="2146846426"/>
            <ac:spMk id="6" creationId="{1045763F-822D-6BDF-A415-0DD62A9BF844}"/>
          </ac:spMkLst>
        </pc:spChg>
        <pc:spChg chg="mod">
          <ac:chgData name="Md Fahim Hasan" userId="92968fce-d4dd-4b9e-8635-66a07c9f98a7" providerId="ADAL" clId="{3A6F4128-6482-4C75-8C7D-220A75826C22}" dt="2023-07-27T15:51:58.279" v="35706"/>
          <ac:spMkLst>
            <pc:docMk/>
            <pc:sldMk cId="2294886516" sldId="2146846426"/>
            <ac:spMk id="8" creationId="{F7121A09-0EC1-9B80-94A4-5E900DAED457}"/>
          </ac:spMkLst>
        </pc:spChg>
        <pc:spChg chg="del">
          <ac:chgData name="Md Fahim Hasan" userId="92968fce-d4dd-4b9e-8635-66a07c9f98a7" providerId="ADAL" clId="{3A6F4128-6482-4C75-8C7D-220A75826C22}" dt="2023-07-24T16:26:29.799" v="15056" actId="478"/>
          <ac:spMkLst>
            <pc:docMk/>
            <pc:sldMk cId="2294886516" sldId="2146846426"/>
            <ac:spMk id="11" creationId="{34104EF3-AE2A-10CD-807A-5E8D98642890}"/>
          </ac:spMkLst>
        </pc:spChg>
        <pc:spChg chg="del">
          <ac:chgData name="Md Fahim Hasan" userId="92968fce-d4dd-4b9e-8635-66a07c9f98a7" providerId="ADAL" clId="{3A6F4128-6482-4C75-8C7D-220A75826C22}" dt="2023-07-24T16:26:29.799" v="15056" actId="478"/>
          <ac:spMkLst>
            <pc:docMk/>
            <pc:sldMk cId="2294886516" sldId="2146846426"/>
            <ac:spMk id="12" creationId="{563AE502-BE2B-F7DC-8070-3C524C7FC52F}"/>
          </ac:spMkLst>
        </pc:spChg>
        <pc:spChg chg="del">
          <ac:chgData name="Md Fahim Hasan" userId="92968fce-d4dd-4b9e-8635-66a07c9f98a7" providerId="ADAL" clId="{3A6F4128-6482-4C75-8C7D-220A75826C22}" dt="2023-07-24T16:26:29.799" v="15056" actId="478"/>
          <ac:spMkLst>
            <pc:docMk/>
            <pc:sldMk cId="2294886516" sldId="2146846426"/>
            <ac:spMk id="15" creationId="{A831B13C-8409-F4FA-2FD1-7B0D4DD54039}"/>
          </ac:spMkLst>
        </pc:spChg>
        <pc:spChg chg="del">
          <ac:chgData name="Md Fahim Hasan" userId="92968fce-d4dd-4b9e-8635-66a07c9f98a7" providerId="ADAL" clId="{3A6F4128-6482-4C75-8C7D-220A75826C22}" dt="2023-07-24T16:26:29.799" v="15056" actId="478"/>
          <ac:spMkLst>
            <pc:docMk/>
            <pc:sldMk cId="2294886516" sldId="2146846426"/>
            <ac:spMk id="16" creationId="{74FA2828-4265-79AB-6956-60772E0CBF25}"/>
          </ac:spMkLst>
        </pc:spChg>
        <pc:picChg chg="del">
          <ac:chgData name="Md Fahim Hasan" userId="92968fce-d4dd-4b9e-8635-66a07c9f98a7" providerId="ADAL" clId="{3A6F4128-6482-4C75-8C7D-220A75826C22}" dt="2023-07-24T16:26:29.799" v="15056" actId="478"/>
          <ac:picMkLst>
            <pc:docMk/>
            <pc:sldMk cId="2294886516" sldId="2146846426"/>
            <ac:picMk id="4" creationId="{1B7C3091-DEA4-66D1-884C-6CB2FD58DBE7}"/>
          </ac:picMkLst>
        </pc:picChg>
        <pc:picChg chg="add mod">
          <ac:chgData name="Md Fahim Hasan" userId="92968fce-d4dd-4b9e-8635-66a07c9f98a7" providerId="ADAL" clId="{3A6F4128-6482-4C75-8C7D-220A75826C22}" dt="2023-07-26T20:29:06.746" v="28280" actId="14826"/>
          <ac:picMkLst>
            <pc:docMk/>
            <pc:sldMk cId="2294886516" sldId="2146846426"/>
            <ac:picMk id="5" creationId="{FFB1E75E-CD71-507C-BB0A-BE0ACF1CB6FC}"/>
          </ac:picMkLst>
        </pc:picChg>
        <pc:picChg chg="del">
          <ac:chgData name="Md Fahim Hasan" userId="92968fce-d4dd-4b9e-8635-66a07c9f98a7" providerId="ADAL" clId="{3A6F4128-6482-4C75-8C7D-220A75826C22}" dt="2023-07-24T16:26:29.799" v="15056" actId="478"/>
          <ac:picMkLst>
            <pc:docMk/>
            <pc:sldMk cId="2294886516" sldId="2146846426"/>
            <ac:picMk id="7" creationId="{B5713B37-2314-473A-D0AE-587C49D1AB77}"/>
          </ac:picMkLst>
        </pc:picChg>
        <pc:picChg chg="del">
          <ac:chgData name="Md Fahim Hasan" userId="92968fce-d4dd-4b9e-8635-66a07c9f98a7" providerId="ADAL" clId="{3A6F4128-6482-4C75-8C7D-220A75826C22}" dt="2023-07-24T16:26:29.799" v="15056" actId="478"/>
          <ac:picMkLst>
            <pc:docMk/>
            <pc:sldMk cId="2294886516" sldId="2146846426"/>
            <ac:picMk id="13" creationId="{46FD433A-9C17-B9F2-33F5-318B3A425069}"/>
          </ac:picMkLst>
        </pc:picChg>
        <pc:picChg chg="del">
          <ac:chgData name="Md Fahim Hasan" userId="92968fce-d4dd-4b9e-8635-66a07c9f98a7" providerId="ADAL" clId="{3A6F4128-6482-4C75-8C7D-220A75826C22}" dt="2023-07-24T16:26:29.799" v="15056" actId="478"/>
          <ac:picMkLst>
            <pc:docMk/>
            <pc:sldMk cId="2294886516" sldId="2146846426"/>
            <ac:picMk id="14" creationId="{D31D8173-1F85-39E6-CA70-70E6E8DBB3C5}"/>
          </ac:picMkLst>
        </pc:picChg>
        <pc:cxnChg chg="del">
          <ac:chgData name="Md Fahim Hasan" userId="92968fce-d4dd-4b9e-8635-66a07c9f98a7" providerId="ADAL" clId="{3A6F4128-6482-4C75-8C7D-220A75826C22}" dt="2023-07-24T16:26:29.799" v="15056" actId="478"/>
          <ac:cxnSpMkLst>
            <pc:docMk/>
            <pc:sldMk cId="2294886516" sldId="2146846426"/>
            <ac:cxnSpMk id="24" creationId="{99D01E62-F77D-E62A-0C2D-824A66B5AD7B}"/>
          </ac:cxnSpMkLst>
        </pc:cxnChg>
      </pc:sldChg>
      <pc:sldChg chg="addSp modSp add del mod">
        <pc:chgData name="Md Fahim Hasan" userId="92968fce-d4dd-4b9e-8635-66a07c9f98a7" providerId="ADAL" clId="{3A6F4128-6482-4C75-8C7D-220A75826C22}" dt="2023-07-25T18:59:14.378" v="19450" actId="2696"/>
        <pc:sldMkLst>
          <pc:docMk/>
          <pc:sldMk cId="2693069310" sldId="2146846427"/>
        </pc:sldMkLst>
        <pc:spChg chg="add mod">
          <ac:chgData name="Md Fahim Hasan" userId="92968fce-d4dd-4b9e-8635-66a07c9f98a7" providerId="ADAL" clId="{3A6F4128-6482-4C75-8C7D-220A75826C22}" dt="2023-07-25T16:05:51.248" v="18042" actId="20577"/>
          <ac:spMkLst>
            <pc:docMk/>
            <pc:sldMk cId="2693069310" sldId="2146846427"/>
            <ac:spMk id="3" creationId="{DDF9BE8D-3E31-FA06-BAA2-2DEDD80E14DD}"/>
          </ac:spMkLst>
        </pc:spChg>
        <pc:spChg chg="mod">
          <ac:chgData name="Md Fahim Hasan" userId="92968fce-d4dd-4b9e-8635-66a07c9f98a7" providerId="ADAL" clId="{3A6F4128-6482-4C75-8C7D-220A75826C22}" dt="2023-07-25T17:17:47.894" v="18407" actId="20577"/>
          <ac:spMkLst>
            <pc:docMk/>
            <pc:sldMk cId="2693069310" sldId="2146846427"/>
            <ac:spMk id="6" creationId="{1045763F-822D-6BDF-A415-0DD62A9BF844}"/>
          </ac:spMkLst>
        </pc:spChg>
        <pc:spChg chg="mod">
          <ac:chgData name="Md Fahim Hasan" userId="92968fce-d4dd-4b9e-8635-66a07c9f98a7" providerId="ADAL" clId="{3A6F4128-6482-4C75-8C7D-220A75826C22}" dt="2023-07-24T16:33:28.593" v="15218" actId="20577"/>
          <ac:spMkLst>
            <pc:docMk/>
            <pc:sldMk cId="2693069310" sldId="2146846427"/>
            <ac:spMk id="9" creationId="{DCE765C9-F866-A10C-05BC-B0F5CF7D4FA9}"/>
          </ac:spMkLst>
        </pc:spChg>
        <pc:picChg chg="mod">
          <ac:chgData name="Md Fahim Hasan" userId="92968fce-d4dd-4b9e-8635-66a07c9f98a7" providerId="ADAL" clId="{3A6F4128-6482-4C75-8C7D-220A75826C22}" dt="2023-07-25T16:05:14.121" v="18015" actId="1076"/>
          <ac:picMkLst>
            <pc:docMk/>
            <pc:sldMk cId="2693069310" sldId="2146846427"/>
            <ac:picMk id="5" creationId="{FFB1E75E-CD71-507C-BB0A-BE0ACF1CB6FC}"/>
          </ac:picMkLst>
        </pc:picChg>
      </pc:sldChg>
      <pc:sldChg chg="addSp delSp modSp add mod">
        <pc:chgData name="Md Fahim Hasan" userId="92968fce-d4dd-4b9e-8635-66a07c9f98a7" providerId="ADAL" clId="{3A6F4128-6482-4C75-8C7D-220A75826C22}" dt="2023-07-27T15:51:58.279" v="35706"/>
        <pc:sldMkLst>
          <pc:docMk/>
          <pc:sldMk cId="4054525422" sldId="2146846427"/>
        </pc:sldMkLst>
        <pc:spChg chg="mod">
          <ac:chgData name="Md Fahim Hasan" userId="92968fce-d4dd-4b9e-8635-66a07c9f98a7" providerId="ADAL" clId="{3A6F4128-6482-4C75-8C7D-220A75826C22}" dt="2023-07-27T15:51:58.279" v="35706"/>
          <ac:spMkLst>
            <pc:docMk/>
            <pc:sldMk cId="4054525422" sldId="2146846427"/>
            <ac:spMk id="2" creationId="{13DBE0CA-2E0D-B5BD-10B2-DA3C2EE8EEE3}"/>
          </ac:spMkLst>
        </pc:spChg>
        <pc:spChg chg="add mod">
          <ac:chgData name="Md Fahim Hasan" userId="92968fce-d4dd-4b9e-8635-66a07c9f98a7" providerId="ADAL" clId="{3A6F4128-6482-4C75-8C7D-220A75826C22}" dt="2023-07-26T22:12:27.562" v="30810"/>
          <ac:spMkLst>
            <pc:docMk/>
            <pc:sldMk cId="4054525422" sldId="2146846427"/>
            <ac:spMk id="3" creationId="{70038EA7-000B-214F-556F-2D23D78E72CB}"/>
          </ac:spMkLst>
        </pc:spChg>
        <pc:spChg chg="del">
          <ac:chgData name="Md Fahim Hasan" userId="92968fce-d4dd-4b9e-8635-66a07c9f98a7" providerId="ADAL" clId="{3A6F4128-6482-4C75-8C7D-220A75826C22}" dt="2023-07-25T20:17:47.550" v="20358" actId="478"/>
          <ac:spMkLst>
            <pc:docMk/>
            <pc:sldMk cId="4054525422" sldId="2146846427"/>
            <ac:spMk id="3" creationId="{DDF9BE8D-3E31-FA06-BAA2-2DEDD80E14DD}"/>
          </ac:spMkLst>
        </pc:spChg>
        <pc:spChg chg="add del mod">
          <ac:chgData name="Md Fahim Hasan" userId="92968fce-d4dd-4b9e-8635-66a07c9f98a7" providerId="ADAL" clId="{3A6F4128-6482-4C75-8C7D-220A75826C22}" dt="2023-07-26T22:12:27.116" v="30809" actId="478"/>
          <ac:spMkLst>
            <pc:docMk/>
            <pc:sldMk cId="4054525422" sldId="2146846427"/>
            <ac:spMk id="4" creationId="{9F47F120-5DB1-941B-86B1-B03D38C95BC7}"/>
          </ac:spMkLst>
        </pc:spChg>
        <pc:spChg chg="del">
          <ac:chgData name="Md Fahim Hasan" userId="92968fce-d4dd-4b9e-8635-66a07c9f98a7" providerId="ADAL" clId="{3A6F4128-6482-4C75-8C7D-220A75826C22}" dt="2023-07-25T20:17:34.910" v="20356" actId="478"/>
          <ac:spMkLst>
            <pc:docMk/>
            <pc:sldMk cId="4054525422" sldId="2146846427"/>
            <ac:spMk id="6" creationId="{1045763F-822D-6BDF-A415-0DD62A9BF844}"/>
          </ac:spMkLst>
        </pc:spChg>
        <pc:spChg chg="add mod">
          <ac:chgData name="Md Fahim Hasan" userId="92968fce-d4dd-4b9e-8635-66a07c9f98a7" providerId="ADAL" clId="{3A6F4128-6482-4C75-8C7D-220A75826C22}" dt="2023-07-26T22:13:27.771" v="30836" actId="1076"/>
          <ac:spMkLst>
            <pc:docMk/>
            <pc:sldMk cId="4054525422" sldId="2146846427"/>
            <ac:spMk id="6" creationId="{D9D897AA-F547-B38D-5EC7-6F9B21D992C9}"/>
          </ac:spMkLst>
        </pc:spChg>
        <pc:spChg chg="add mod">
          <ac:chgData name="Md Fahim Hasan" userId="92968fce-d4dd-4b9e-8635-66a07c9f98a7" providerId="ADAL" clId="{3A6F4128-6482-4C75-8C7D-220A75826C22}" dt="2023-07-25T20:17:57.782" v="20381" actId="115"/>
          <ac:spMkLst>
            <pc:docMk/>
            <pc:sldMk cId="4054525422" sldId="2146846427"/>
            <ac:spMk id="7" creationId="{FD8378DE-F5EB-1E8C-883F-7E3E98AD8C06}"/>
          </ac:spMkLst>
        </pc:spChg>
        <pc:spChg chg="add del mod">
          <ac:chgData name="Md Fahim Hasan" userId="92968fce-d4dd-4b9e-8635-66a07c9f98a7" providerId="ADAL" clId="{3A6F4128-6482-4C75-8C7D-220A75826C22}" dt="2023-07-26T22:13:31.575" v="30838"/>
          <ac:spMkLst>
            <pc:docMk/>
            <pc:sldMk cId="4054525422" sldId="2146846427"/>
            <ac:spMk id="8" creationId="{E5A0F3FD-CD87-746E-B0F5-D302EBF4BB6B}"/>
          </ac:spMkLst>
        </pc:spChg>
        <pc:spChg chg="add mod">
          <ac:chgData name="Md Fahim Hasan" userId="92968fce-d4dd-4b9e-8635-66a07c9f98a7" providerId="ADAL" clId="{3A6F4128-6482-4C75-8C7D-220A75826C22}" dt="2023-07-26T22:13:45.510" v="30846" actId="1076"/>
          <ac:spMkLst>
            <pc:docMk/>
            <pc:sldMk cId="4054525422" sldId="2146846427"/>
            <ac:spMk id="10" creationId="{CC650680-B20E-2E1A-596D-9106EFE41B86}"/>
          </ac:spMkLst>
        </pc:spChg>
        <pc:spChg chg="add mod">
          <ac:chgData name="Md Fahim Hasan" userId="92968fce-d4dd-4b9e-8635-66a07c9f98a7" providerId="ADAL" clId="{3A6F4128-6482-4C75-8C7D-220A75826C22}" dt="2023-07-26T22:13:54.963" v="30860" actId="122"/>
          <ac:spMkLst>
            <pc:docMk/>
            <pc:sldMk cId="4054525422" sldId="2146846427"/>
            <ac:spMk id="11" creationId="{1A922FD9-3DB5-C721-F8E1-C6A531459DCE}"/>
          </ac:spMkLst>
        </pc:spChg>
        <pc:picChg chg="mod">
          <ac:chgData name="Md Fahim Hasan" userId="92968fce-d4dd-4b9e-8635-66a07c9f98a7" providerId="ADAL" clId="{3A6F4128-6482-4C75-8C7D-220A75826C22}" dt="2023-07-25T20:22:24.892" v="20418" actId="1076"/>
          <ac:picMkLst>
            <pc:docMk/>
            <pc:sldMk cId="4054525422" sldId="2146846427"/>
            <ac:picMk id="5" creationId="{FFB1E75E-CD71-507C-BB0A-BE0ACF1CB6FC}"/>
          </ac:picMkLst>
        </pc:picChg>
      </pc:sldChg>
      <pc:sldChg chg="addSp delSp modSp add mod modNotesTx">
        <pc:chgData name="Md Fahim Hasan" userId="92968fce-d4dd-4b9e-8635-66a07c9f98a7" providerId="ADAL" clId="{3A6F4128-6482-4C75-8C7D-220A75826C22}" dt="2023-07-27T19:45:59.508" v="37604" actId="1076"/>
        <pc:sldMkLst>
          <pc:docMk/>
          <pc:sldMk cId="2148413348" sldId="2146846428"/>
        </pc:sldMkLst>
        <pc:spChg chg="mod">
          <ac:chgData name="Md Fahim Hasan" userId="92968fce-d4dd-4b9e-8635-66a07c9f98a7" providerId="ADAL" clId="{3A6F4128-6482-4C75-8C7D-220A75826C22}" dt="2023-07-27T15:51:58.279" v="35706"/>
          <ac:spMkLst>
            <pc:docMk/>
            <pc:sldMk cId="2148413348" sldId="2146846428"/>
            <ac:spMk id="2" creationId="{0A60EB20-EC01-4148-142A-A90438FBEEA2}"/>
          </ac:spMkLst>
        </pc:spChg>
        <pc:spChg chg="add del mod">
          <ac:chgData name="Md Fahim Hasan" userId="92968fce-d4dd-4b9e-8635-66a07c9f98a7" providerId="ADAL" clId="{3A6F4128-6482-4C75-8C7D-220A75826C22}" dt="2023-07-25T20:17:01.534" v="20331" actId="478"/>
          <ac:spMkLst>
            <pc:docMk/>
            <pc:sldMk cId="2148413348" sldId="2146846428"/>
            <ac:spMk id="3" creationId="{3AD526E3-9EC2-EFF4-55CE-49C4E77E9E4E}"/>
          </ac:spMkLst>
        </pc:spChg>
        <pc:spChg chg="add mod">
          <ac:chgData name="Md Fahim Hasan" userId="92968fce-d4dd-4b9e-8635-66a07c9f98a7" providerId="ADAL" clId="{3A6F4128-6482-4C75-8C7D-220A75826C22}" dt="2023-07-26T20:54:08.993" v="28864" actId="1076"/>
          <ac:spMkLst>
            <pc:docMk/>
            <pc:sldMk cId="2148413348" sldId="2146846428"/>
            <ac:spMk id="3" creationId="{CF2E21D2-7571-4C77-B831-1A36117C1D1B}"/>
          </ac:spMkLst>
        </pc:spChg>
        <pc:spChg chg="add mod">
          <ac:chgData name="Md Fahim Hasan" userId="92968fce-d4dd-4b9e-8635-66a07c9f98a7" providerId="ADAL" clId="{3A6F4128-6482-4C75-8C7D-220A75826C22}" dt="2023-07-26T20:54:18.066" v="28867" actId="115"/>
          <ac:spMkLst>
            <pc:docMk/>
            <pc:sldMk cId="2148413348" sldId="2146846428"/>
            <ac:spMk id="4" creationId="{26A528D3-6165-AA0D-8B5A-5F6EDD064ED7}"/>
          </ac:spMkLst>
        </pc:spChg>
        <pc:spChg chg="del">
          <ac:chgData name="Md Fahim Hasan" userId="92968fce-d4dd-4b9e-8635-66a07c9f98a7" providerId="ADAL" clId="{3A6F4128-6482-4C75-8C7D-220A75826C22}" dt="2023-07-25T20:17:21.639" v="20353" actId="478"/>
          <ac:spMkLst>
            <pc:docMk/>
            <pc:sldMk cId="2148413348" sldId="2146846428"/>
            <ac:spMk id="6" creationId="{1045763F-822D-6BDF-A415-0DD62A9BF844}"/>
          </ac:spMkLst>
        </pc:spChg>
        <pc:spChg chg="add del mod">
          <ac:chgData name="Md Fahim Hasan" userId="92968fce-d4dd-4b9e-8635-66a07c9f98a7" providerId="ADAL" clId="{3A6F4128-6482-4C75-8C7D-220A75826C22}" dt="2023-07-27T19:42:12.759" v="37541"/>
          <ac:spMkLst>
            <pc:docMk/>
            <pc:sldMk cId="2148413348" sldId="2146846428"/>
            <ac:spMk id="6" creationId="{AA8EC243-E739-59CF-0565-E82AD70DC952}"/>
          </ac:spMkLst>
        </pc:spChg>
        <pc:spChg chg="add del mod">
          <ac:chgData name="Md Fahim Hasan" userId="92968fce-d4dd-4b9e-8635-66a07c9f98a7" providerId="ADAL" clId="{3A6F4128-6482-4C75-8C7D-220A75826C22}" dt="2023-07-26T20:54:04.658" v="28862" actId="478"/>
          <ac:spMkLst>
            <pc:docMk/>
            <pc:sldMk cId="2148413348" sldId="2146846428"/>
            <ac:spMk id="7" creationId="{64939489-9015-5269-90BF-6433B909F859}"/>
          </ac:spMkLst>
        </pc:spChg>
        <pc:spChg chg="add del mod">
          <ac:chgData name="Md Fahim Hasan" userId="92968fce-d4dd-4b9e-8635-66a07c9f98a7" providerId="ADAL" clId="{3A6F4128-6482-4C75-8C7D-220A75826C22}" dt="2023-07-27T19:45:49.990" v="37602"/>
          <ac:spMkLst>
            <pc:docMk/>
            <pc:sldMk cId="2148413348" sldId="2146846428"/>
            <ac:spMk id="7" creationId="{B096693A-4879-2C50-BDCC-8197F44F04AB}"/>
          </ac:spMkLst>
        </pc:spChg>
        <pc:spChg chg="add mod">
          <ac:chgData name="Md Fahim Hasan" userId="92968fce-d4dd-4b9e-8635-66a07c9f98a7" providerId="ADAL" clId="{3A6F4128-6482-4C75-8C7D-220A75826C22}" dt="2023-07-27T19:45:59.508" v="37604" actId="1076"/>
          <ac:spMkLst>
            <pc:docMk/>
            <pc:sldMk cId="2148413348" sldId="2146846428"/>
            <ac:spMk id="8" creationId="{B258A952-5F02-72D1-9663-1399AC6760A4}"/>
          </ac:spMkLst>
        </pc:spChg>
        <pc:spChg chg="mod">
          <ac:chgData name="Md Fahim Hasan" userId="92968fce-d4dd-4b9e-8635-66a07c9f98a7" providerId="ADAL" clId="{3A6F4128-6482-4C75-8C7D-220A75826C22}" dt="2023-07-24T16:34:02.568" v="15240" actId="20577"/>
          <ac:spMkLst>
            <pc:docMk/>
            <pc:sldMk cId="2148413348" sldId="2146846428"/>
            <ac:spMk id="9" creationId="{DCE765C9-F866-A10C-05BC-B0F5CF7D4FA9}"/>
          </ac:spMkLst>
        </pc:spChg>
        <pc:picChg chg="mod">
          <ac:chgData name="Md Fahim Hasan" userId="92968fce-d4dd-4b9e-8635-66a07c9f98a7" providerId="ADAL" clId="{3A6F4128-6482-4C75-8C7D-220A75826C22}" dt="2023-07-26T20:53:57.166" v="28861" actId="14826"/>
          <ac:picMkLst>
            <pc:docMk/>
            <pc:sldMk cId="2148413348" sldId="2146846428"/>
            <ac:picMk id="5" creationId="{FFB1E75E-CD71-507C-BB0A-BE0ACF1CB6FC}"/>
          </ac:picMkLst>
        </pc:picChg>
      </pc:sldChg>
      <pc:sldChg chg="delSp add del setBg delDesignElem">
        <pc:chgData name="Md Fahim Hasan" userId="92968fce-d4dd-4b9e-8635-66a07c9f98a7" providerId="ADAL" clId="{3A6F4128-6482-4C75-8C7D-220A75826C22}" dt="2023-07-24T17:49:58.640" v="16186" actId="47"/>
        <pc:sldMkLst>
          <pc:docMk/>
          <pc:sldMk cId="726946769" sldId="2146846429"/>
        </pc:sldMkLst>
        <pc:spChg chg="del">
          <ac:chgData name="Md Fahim Hasan" userId="92968fce-d4dd-4b9e-8635-66a07c9f98a7" providerId="ADAL" clId="{3A6F4128-6482-4C75-8C7D-220A75826C22}" dt="2023-07-24T17:49:40.490" v="16185"/>
          <ac:spMkLst>
            <pc:docMk/>
            <pc:sldMk cId="726946769" sldId="2146846429"/>
            <ac:spMk id="18" creationId="{35F60170-91B4-45F0-B88B-9C07AEC4642C}"/>
          </ac:spMkLst>
        </pc:spChg>
        <pc:spChg chg="del">
          <ac:chgData name="Md Fahim Hasan" userId="92968fce-d4dd-4b9e-8635-66a07c9f98a7" providerId="ADAL" clId="{3A6F4128-6482-4C75-8C7D-220A75826C22}" dt="2023-07-24T17:49:40.490" v="16185"/>
          <ac:spMkLst>
            <pc:docMk/>
            <pc:sldMk cId="726946769" sldId="2146846429"/>
            <ac:spMk id="19" creationId="{2C7D7C94-41C0-4614-8A18-941174D4D2AF}"/>
          </ac:spMkLst>
        </pc:spChg>
        <pc:grpChg chg="del">
          <ac:chgData name="Md Fahim Hasan" userId="92968fce-d4dd-4b9e-8635-66a07c9f98a7" providerId="ADAL" clId="{3A6F4128-6482-4C75-8C7D-220A75826C22}" dt="2023-07-24T17:49:40.490" v="16185"/>
          <ac:grpSpMkLst>
            <pc:docMk/>
            <pc:sldMk cId="726946769" sldId="2146846429"/>
            <ac:grpSpMk id="25" creationId="{65B3D45F-509E-43F3-B685-A5E78AD0D820}"/>
          </ac:grpSpMkLst>
        </pc:grpChg>
        <pc:cxnChg chg="del">
          <ac:chgData name="Md Fahim Hasan" userId="92968fce-d4dd-4b9e-8635-66a07c9f98a7" providerId="ADAL" clId="{3A6F4128-6482-4C75-8C7D-220A75826C22}" dt="2023-07-24T17:49:40.490" v="16185"/>
          <ac:cxnSpMkLst>
            <pc:docMk/>
            <pc:sldMk cId="726946769" sldId="2146846429"/>
            <ac:cxnSpMk id="21" creationId="{61F6FBC1-6409-4059-B87B-1BE513242FE6}"/>
          </ac:cxnSpMkLst>
        </pc:cxnChg>
        <pc:cxnChg chg="del">
          <ac:chgData name="Md Fahim Hasan" userId="92968fce-d4dd-4b9e-8635-66a07c9f98a7" providerId="ADAL" clId="{3A6F4128-6482-4C75-8C7D-220A75826C22}" dt="2023-07-24T17:49:40.490" v="16185"/>
          <ac:cxnSpMkLst>
            <pc:docMk/>
            <pc:sldMk cId="726946769" sldId="2146846429"/>
            <ac:cxnSpMk id="23" creationId="{E6A98E26-C7DC-48E3-8F50-FBF7F3C50F4C}"/>
          </ac:cxnSpMkLst>
        </pc:cxnChg>
      </pc:sldChg>
      <pc:sldChg chg="delSp modSp add del mod setBg delDesignElem">
        <pc:chgData name="Md Fahim Hasan" userId="92968fce-d4dd-4b9e-8635-66a07c9f98a7" providerId="ADAL" clId="{3A6F4128-6482-4C75-8C7D-220A75826C22}" dt="2023-07-24T17:50:53.955" v="16194" actId="47"/>
        <pc:sldMkLst>
          <pc:docMk/>
          <pc:sldMk cId="2490606410" sldId="2146846429"/>
        </pc:sldMkLst>
        <pc:spChg chg="mod">
          <ac:chgData name="Md Fahim Hasan" userId="92968fce-d4dd-4b9e-8635-66a07c9f98a7" providerId="ADAL" clId="{3A6F4128-6482-4C75-8C7D-220A75826C22}" dt="2023-07-24T17:50:29.773" v="16191" actId="20577"/>
          <ac:spMkLst>
            <pc:docMk/>
            <pc:sldMk cId="2490606410" sldId="2146846429"/>
            <ac:spMk id="9" creationId="{DCE765C9-F866-A10C-05BC-B0F5CF7D4FA9}"/>
          </ac:spMkLst>
        </pc:spChg>
        <pc:spChg chg="del">
          <ac:chgData name="Md Fahim Hasan" userId="92968fce-d4dd-4b9e-8635-66a07c9f98a7" providerId="ADAL" clId="{3A6F4128-6482-4C75-8C7D-220A75826C22}" dt="2023-07-24T17:50:09.042" v="16188"/>
          <ac:spMkLst>
            <pc:docMk/>
            <pc:sldMk cId="2490606410" sldId="2146846429"/>
            <ac:spMk id="18" creationId="{35F60170-91B4-45F0-B88B-9C07AEC4642C}"/>
          </ac:spMkLst>
        </pc:spChg>
        <pc:spChg chg="del">
          <ac:chgData name="Md Fahim Hasan" userId="92968fce-d4dd-4b9e-8635-66a07c9f98a7" providerId="ADAL" clId="{3A6F4128-6482-4C75-8C7D-220A75826C22}" dt="2023-07-24T17:50:09.042" v="16188"/>
          <ac:spMkLst>
            <pc:docMk/>
            <pc:sldMk cId="2490606410" sldId="2146846429"/>
            <ac:spMk id="19" creationId="{2C7D7C94-41C0-4614-8A18-941174D4D2AF}"/>
          </ac:spMkLst>
        </pc:spChg>
        <pc:grpChg chg="del">
          <ac:chgData name="Md Fahim Hasan" userId="92968fce-d4dd-4b9e-8635-66a07c9f98a7" providerId="ADAL" clId="{3A6F4128-6482-4C75-8C7D-220A75826C22}" dt="2023-07-24T17:50:09.042" v="16188"/>
          <ac:grpSpMkLst>
            <pc:docMk/>
            <pc:sldMk cId="2490606410" sldId="2146846429"/>
            <ac:grpSpMk id="25" creationId="{65B3D45F-509E-43F3-B685-A5E78AD0D820}"/>
          </ac:grpSpMkLst>
        </pc:grpChg>
        <pc:cxnChg chg="del">
          <ac:chgData name="Md Fahim Hasan" userId="92968fce-d4dd-4b9e-8635-66a07c9f98a7" providerId="ADAL" clId="{3A6F4128-6482-4C75-8C7D-220A75826C22}" dt="2023-07-24T17:50:09.042" v="16188"/>
          <ac:cxnSpMkLst>
            <pc:docMk/>
            <pc:sldMk cId="2490606410" sldId="2146846429"/>
            <ac:cxnSpMk id="21" creationId="{61F6FBC1-6409-4059-B87B-1BE513242FE6}"/>
          </ac:cxnSpMkLst>
        </pc:cxnChg>
        <pc:cxnChg chg="del">
          <ac:chgData name="Md Fahim Hasan" userId="92968fce-d4dd-4b9e-8635-66a07c9f98a7" providerId="ADAL" clId="{3A6F4128-6482-4C75-8C7D-220A75826C22}" dt="2023-07-24T17:50:09.042" v="16188"/>
          <ac:cxnSpMkLst>
            <pc:docMk/>
            <pc:sldMk cId="2490606410" sldId="2146846429"/>
            <ac:cxnSpMk id="23" creationId="{E6A98E26-C7DC-48E3-8F50-FBF7F3C50F4C}"/>
          </ac:cxnSpMkLst>
        </pc:cxnChg>
      </pc:sldChg>
      <pc:sldChg chg="addSp delSp modSp add mod setBg delDesignElem">
        <pc:chgData name="Md Fahim Hasan" userId="92968fce-d4dd-4b9e-8635-66a07c9f98a7" providerId="ADAL" clId="{3A6F4128-6482-4C75-8C7D-220A75826C22}" dt="2023-07-27T20:44:57.253" v="38132" actId="1076"/>
        <pc:sldMkLst>
          <pc:docMk/>
          <pc:sldMk cId="4234255154" sldId="2146846429"/>
        </pc:sldMkLst>
        <pc:spChg chg="mod">
          <ac:chgData name="Md Fahim Hasan" userId="92968fce-d4dd-4b9e-8635-66a07c9f98a7" providerId="ADAL" clId="{3A6F4128-6482-4C75-8C7D-220A75826C22}" dt="2023-07-27T15:51:58.279" v="35706"/>
          <ac:spMkLst>
            <pc:docMk/>
            <pc:sldMk cId="4234255154" sldId="2146846429"/>
            <ac:spMk id="2" creationId="{0B89BDD2-F5DB-123F-BC6B-2CA2B8A70DAF}"/>
          </ac:spMkLst>
        </pc:spChg>
        <pc:spChg chg="add del mod">
          <ac:chgData name="Md Fahim Hasan" userId="92968fce-d4dd-4b9e-8635-66a07c9f98a7" providerId="ADAL" clId="{3A6F4128-6482-4C75-8C7D-220A75826C22}" dt="2023-07-27T15:54:41.029" v="35725" actId="478"/>
          <ac:spMkLst>
            <pc:docMk/>
            <pc:sldMk cId="4234255154" sldId="2146846429"/>
            <ac:spMk id="3" creationId="{91769226-5F5F-AEE2-7343-9AE32B960481}"/>
          </ac:spMkLst>
        </pc:spChg>
        <pc:spChg chg="mod">
          <ac:chgData name="Md Fahim Hasan" userId="92968fce-d4dd-4b9e-8635-66a07c9f98a7" providerId="ADAL" clId="{3A6F4128-6482-4C75-8C7D-220A75826C22}" dt="2023-07-27T20:44:57.253" v="38132" actId="1076"/>
          <ac:spMkLst>
            <pc:docMk/>
            <pc:sldMk cId="4234255154" sldId="2146846429"/>
            <ac:spMk id="9" creationId="{DCE765C9-F866-A10C-05BC-B0F5CF7D4FA9}"/>
          </ac:spMkLst>
        </pc:spChg>
        <pc:spChg chg="del">
          <ac:chgData name="Md Fahim Hasan" userId="92968fce-d4dd-4b9e-8635-66a07c9f98a7" providerId="ADAL" clId="{3A6F4128-6482-4C75-8C7D-220A75826C22}" dt="2023-07-24T17:52:07.969" v="16203"/>
          <ac:spMkLst>
            <pc:docMk/>
            <pc:sldMk cId="4234255154" sldId="2146846429"/>
            <ac:spMk id="18" creationId="{35F60170-91B4-45F0-B88B-9C07AEC4642C}"/>
          </ac:spMkLst>
        </pc:spChg>
        <pc:spChg chg="del">
          <ac:chgData name="Md Fahim Hasan" userId="92968fce-d4dd-4b9e-8635-66a07c9f98a7" providerId="ADAL" clId="{3A6F4128-6482-4C75-8C7D-220A75826C22}" dt="2023-07-24T17:52:07.969" v="16203"/>
          <ac:spMkLst>
            <pc:docMk/>
            <pc:sldMk cId="4234255154" sldId="2146846429"/>
            <ac:spMk id="19" creationId="{2C7D7C94-41C0-4614-8A18-941174D4D2AF}"/>
          </ac:spMkLst>
        </pc:spChg>
        <pc:grpChg chg="del">
          <ac:chgData name="Md Fahim Hasan" userId="92968fce-d4dd-4b9e-8635-66a07c9f98a7" providerId="ADAL" clId="{3A6F4128-6482-4C75-8C7D-220A75826C22}" dt="2023-07-24T17:52:07.969" v="16203"/>
          <ac:grpSpMkLst>
            <pc:docMk/>
            <pc:sldMk cId="4234255154" sldId="2146846429"/>
            <ac:grpSpMk id="25" creationId="{65B3D45F-509E-43F3-B685-A5E78AD0D820}"/>
          </ac:grpSpMkLst>
        </pc:grpChg>
        <pc:picChg chg="add del mod ord">
          <ac:chgData name="Md Fahim Hasan" userId="92968fce-d4dd-4b9e-8635-66a07c9f98a7" providerId="ADAL" clId="{3A6F4128-6482-4C75-8C7D-220A75826C22}" dt="2023-07-27T15:54:40.134" v="35724" actId="478"/>
          <ac:picMkLst>
            <pc:docMk/>
            <pc:sldMk cId="4234255154" sldId="2146846429"/>
            <ac:picMk id="15" creationId="{B0F7B2C1-02FD-AB52-1E28-5A1C0EE1123A}"/>
          </ac:picMkLst>
        </pc:picChg>
        <pc:cxnChg chg="add mod">
          <ac:chgData name="Md Fahim Hasan" userId="92968fce-d4dd-4b9e-8635-66a07c9f98a7" providerId="ADAL" clId="{3A6F4128-6482-4C75-8C7D-220A75826C22}" dt="2023-07-24T17:55:00.519" v="16224" actId="692"/>
          <ac:cxnSpMkLst>
            <pc:docMk/>
            <pc:sldMk cId="4234255154" sldId="2146846429"/>
            <ac:cxnSpMk id="5" creationId="{7626C8EE-8744-DAF9-3469-888CF3D8D275}"/>
          </ac:cxnSpMkLst>
        </pc:cxnChg>
        <pc:cxnChg chg="del">
          <ac:chgData name="Md Fahim Hasan" userId="92968fce-d4dd-4b9e-8635-66a07c9f98a7" providerId="ADAL" clId="{3A6F4128-6482-4C75-8C7D-220A75826C22}" dt="2023-07-24T17:52:07.969" v="16203"/>
          <ac:cxnSpMkLst>
            <pc:docMk/>
            <pc:sldMk cId="4234255154" sldId="2146846429"/>
            <ac:cxnSpMk id="21" creationId="{61F6FBC1-6409-4059-B87B-1BE513242FE6}"/>
          </ac:cxnSpMkLst>
        </pc:cxnChg>
        <pc:cxnChg chg="del">
          <ac:chgData name="Md Fahim Hasan" userId="92968fce-d4dd-4b9e-8635-66a07c9f98a7" providerId="ADAL" clId="{3A6F4128-6482-4C75-8C7D-220A75826C22}" dt="2023-07-24T17:52:07.969" v="16203"/>
          <ac:cxnSpMkLst>
            <pc:docMk/>
            <pc:sldMk cId="4234255154" sldId="2146846429"/>
            <ac:cxnSpMk id="23" creationId="{E6A98E26-C7DC-48E3-8F50-FBF7F3C50F4C}"/>
          </ac:cxnSpMkLst>
        </pc:cxnChg>
      </pc:sldChg>
      <pc:sldChg chg="addSp delSp modSp add mod delAnim modAnim modNotesTx">
        <pc:chgData name="Md Fahim Hasan" userId="92968fce-d4dd-4b9e-8635-66a07c9f98a7" providerId="ADAL" clId="{3A6F4128-6482-4C75-8C7D-220A75826C22}" dt="2023-07-27T20:44:27.906" v="38130"/>
        <pc:sldMkLst>
          <pc:docMk/>
          <pc:sldMk cId="2909473707" sldId="2146846430"/>
        </pc:sldMkLst>
        <pc:spChg chg="mod">
          <ac:chgData name="Md Fahim Hasan" userId="92968fce-d4dd-4b9e-8635-66a07c9f98a7" providerId="ADAL" clId="{3A6F4128-6482-4C75-8C7D-220A75826C22}" dt="2023-07-27T15:51:58.279" v="35706"/>
          <ac:spMkLst>
            <pc:docMk/>
            <pc:sldMk cId="2909473707" sldId="2146846430"/>
            <ac:spMk id="2" creationId="{01022AA2-4ED6-33F1-DCC7-83E7BA387B4B}"/>
          </ac:spMkLst>
        </pc:spChg>
        <pc:spChg chg="del">
          <ac:chgData name="Md Fahim Hasan" userId="92968fce-d4dd-4b9e-8635-66a07c9f98a7" providerId="ADAL" clId="{3A6F4128-6482-4C75-8C7D-220A75826C22}" dt="2023-07-25T18:50:27.993" v="19144" actId="478"/>
          <ac:spMkLst>
            <pc:docMk/>
            <pc:sldMk cId="2909473707" sldId="2146846430"/>
            <ac:spMk id="3" creationId="{76C83492-675C-BDF8-08D6-D05F59107492}"/>
          </ac:spMkLst>
        </pc:spChg>
        <pc:spChg chg="add mod">
          <ac:chgData name="Md Fahim Hasan" userId="92968fce-d4dd-4b9e-8635-66a07c9f98a7" providerId="ADAL" clId="{3A6F4128-6482-4C75-8C7D-220A75826C22}" dt="2023-07-27T20:44:24.655" v="38129" actId="1076"/>
          <ac:spMkLst>
            <pc:docMk/>
            <pc:sldMk cId="2909473707" sldId="2146846430"/>
            <ac:spMk id="3" creationId="{F85CE8A7-A3C4-8714-8E34-FC0984E2782A}"/>
          </ac:spMkLst>
        </pc:spChg>
        <pc:spChg chg="del">
          <ac:chgData name="Md Fahim Hasan" userId="92968fce-d4dd-4b9e-8635-66a07c9f98a7" providerId="ADAL" clId="{3A6F4128-6482-4C75-8C7D-220A75826C22}" dt="2023-07-25T18:50:30.141" v="19146" actId="478"/>
          <ac:spMkLst>
            <pc:docMk/>
            <pc:sldMk cId="2909473707" sldId="2146846430"/>
            <ac:spMk id="6" creationId="{CDFE7E05-6304-E9E3-446A-5B56956DD37A}"/>
          </ac:spMkLst>
        </pc:spChg>
        <pc:spChg chg="add mod">
          <ac:chgData name="Md Fahim Hasan" userId="92968fce-d4dd-4b9e-8635-66a07c9f98a7" providerId="ADAL" clId="{3A6F4128-6482-4C75-8C7D-220A75826C22}" dt="2023-07-27T17:08:48.200" v="36789" actId="1076"/>
          <ac:spMkLst>
            <pc:docMk/>
            <pc:sldMk cId="2909473707" sldId="2146846430"/>
            <ac:spMk id="6" creationId="{FCAC62EA-8A81-EE11-10F3-39C2B2E65E1E}"/>
          </ac:spMkLst>
        </pc:spChg>
        <pc:spChg chg="add mod">
          <ac:chgData name="Md Fahim Hasan" userId="92968fce-d4dd-4b9e-8635-66a07c9f98a7" providerId="ADAL" clId="{3A6F4128-6482-4C75-8C7D-220A75826C22}" dt="2023-07-26T18:46:15.319" v="25768" actId="6549"/>
          <ac:spMkLst>
            <pc:docMk/>
            <pc:sldMk cId="2909473707" sldId="2146846430"/>
            <ac:spMk id="7" creationId="{F6EAD1EE-7BCC-F32D-900D-A3EA1DD52B04}"/>
          </ac:spMkLst>
        </pc:spChg>
        <pc:spChg chg="add mod">
          <ac:chgData name="Md Fahim Hasan" userId="92968fce-d4dd-4b9e-8635-66a07c9f98a7" providerId="ADAL" clId="{3A6F4128-6482-4C75-8C7D-220A75826C22}" dt="2023-07-27T17:08:45.305" v="36788" actId="1076"/>
          <ac:spMkLst>
            <pc:docMk/>
            <pc:sldMk cId="2909473707" sldId="2146846430"/>
            <ac:spMk id="8" creationId="{DF929442-23E2-832B-07C5-CFA9F0D8C74C}"/>
          </ac:spMkLst>
        </pc:spChg>
        <pc:spChg chg="mod">
          <ac:chgData name="Md Fahim Hasan" userId="92968fce-d4dd-4b9e-8635-66a07c9f98a7" providerId="ADAL" clId="{3A6F4128-6482-4C75-8C7D-220A75826C22}" dt="2023-07-25T18:50:21.230" v="19142" actId="20577"/>
          <ac:spMkLst>
            <pc:docMk/>
            <pc:sldMk cId="2909473707" sldId="2146846430"/>
            <ac:spMk id="9" creationId="{DCE765C9-F866-A10C-05BC-B0F5CF7D4FA9}"/>
          </ac:spMkLst>
        </pc:spChg>
        <pc:spChg chg="del">
          <ac:chgData name="Md Fahim Hasan" userId="92968fce-d4dd-4b9e-8635-66a07c9f98a7" providerId="ADAL" clId="{3A6F4128-6482-4C75-8C7D-220A75826C22}" dt="2023-07-25T18:50:26.157" v="19143" actId="478"/>
          <ac:spMkLst>
            <pc:docMk/>
            <pc:sldMk cId="2909473707" sldId="2146846430"/>
            <ac:spMk id="10" creationId="{0493CA3C-A4A5-7D4C-211C-75EC0115E151}"/>
          </ac:spMkLst>
        </pc:spChg>
        <pc:spChg chg="add mod">
          <ac:chgData name="Md Fahim Hasan" userId="92968fce-d4dd-4b9e-8635-66a07c9f98a7" providerId="ADAL" clId="{3A6F4128-6482-4C75-8C7D-220A75826C22}" dt="2023-07-26T18:50:04.249" v="25874" actId="1076"/>
          <ac:spMkLst>
            <pc:docMk/>
            <pc:sldMk cId="2909473707" sldId="2146846430"/>
            <ac:spMk id="10" creationId="{06DC33EA-80CC-17B8-8CC3-A0A0E08E06B1}"/>
          </ac:spMkLst>
        </pc:spChg>
        <pc:spChg chg="del">
          <ac:chgData name="Md Fahim Hasan" userId="92968fce-d4dd-4b9e-8635-66a07c9f98a7" providerId="ADAL" clId="{3A6F4128-6482-4C75-8C7D-220A75826C22}" dt="2023-07-25T18:50:26.157" v="19143" actId="478"/>
          <ac:spMkLst>
            <pc:docMk/>
            <pc:sldMk cId="2909473707" sldId="2146846430"/>
            <ac:spMk id="21" creationId="{8BBD99BD-72B6-B1F3-A76A-4FE9DD5EA5DC}"/>
          </ac:spMkLst>
        </pc:spChg>
        <pc:grpChg chg="del">
          <ac:chgData name="Md Fahim Hasan" userId="92968fce-d4dd-4b9e-8635-66a07c9f98a7" providerId="ADAL" clId="{3A6F4128-6482-4C75-8C7D-220A75826C22}" dt="2023-07-25T18:50:28.672" v="19145" actId="478"/>
          <ac:grpSpMkLst>
            <pc:docMk/>
            <pc:sldMk cId="2909473707" sldId="2146846430"/>
            <ac:grpSpMk id="17" creationId="{64FBD80A-68D5-FAA2-CDB2-774F6A09765B}"/>
          </ac:grpSpMkLst>
        </pc:grpChg>
        <pc:graphicFrameChg chg="add mod modGraphic">
          <ac:chgData name="Md Fahim Hasan" userId="92968fce-d4dd-4b9e-8635-66a07c9f98a7" providerId="ADAL" clId="{3A6F4128-6482-4C75-8C7D-220A75826C22}" dt="2023-07-26T18:52:44.783" v="25933" actId="20577"/>
          <ac:graphicFrameMkLst>
            <pc:docMk/>
            <pc:sldMk cId="2909473707" sldId="2146846430"/>
            <ac:graphicFrameMk id="4" creationId="{53C504F3-4F33-42DC-8E5D-BAF1733E2B0A}"/>
          </ac:graphicFrameMkLst>
        </pc:graphicFrameChg>
        <pc:picChg chg="del">
          <ac:chgData name="Md Fahim Hasan" userId="92968fce-d4dd-4b9e-8635-66a07c9f98a7" providerId="ADAL" clId="{3A6F4128-6482-4C75-8C7D-220A75826C22}" dt="2023-07-25T18:50:26.157" v="19143" actId="478"/>
          <ac:picMkLst>
            <pc:docMk/>
            <pc:sldMk cId="2909473707" sldId="2146846430"/>
            <ac:picMk id="12" creationId="{90ABC447-2E42-0759-A4D9-C6C53471FABF}"/>
          </ac:picMkLst>
        </pc:picChg>
        <pc:cxnChg chg="del">
          <ac:chgData name="Md Fahim Hasan" userId="92968fce-d4dd-4b9e-8635-66a07c9f98a7" providerId="ADAL" clId="{3A6F4128-6482-4C75-8C7D-220A75826C22}" dt="2023-07-25T18:50:31.116" v="19147" actId="478"/>
          <ac:cxnSpMkLst>
            <pc:docMk/>
            <pc:sldMk cId="2909473707" sldId="2146846430"/>
            <ac:cxnSpMk id="5" creationId="{574A5DFC-E7EF-DEE4-7465-FB1BC7318588}"/>
          </ac:cxnSpMkLst>
        </pc:cxnChg>
        <pc:cxnChg chg="add mod">
          <ac:chgData name="Md Fahim Hasan" userId="92968fce-d4dd-4b9e-8635-66a07c9f98a7" providerId="ADAL" clId="{3A6F4128-6482-4C75-8C7D-220A75826C22}" dt="2023-07-26T18:49:53.264" v="25872" actId="14100"/>
          <ac:cxnSpMkLst>
            <pc:docMk/>
            <pc:sldMk cId="2909473707" sldId="2146846430"/>
            <ac:cxnSpMk id="5" creationId="{DAB66E9A-2F8A-176A-5927-5B66B3A0DCCE}"/>
          </ac:cxnSpMkLst>
        </pc:cxnChg>
      </pc:sldChg>
      <pc:sldChg chg="addSp delSp modSp add mod delAnim">
        <pc:chgData name="Md Fahim Hasan" userId="92968fce-d4dd-4b9e-8635-66a07c9f98a7" providerId="ADAL" clId="{3A6F4128-6482-4C75-8C7D-220A75826C22}" dt="2023-07-27T15:51:58.279" v="35706"/>
        <pc:sldMkLst>
          <pc:docMk/>
          <pc:sldMk cId="1341090871" sldId="2146846431"/>
        </pc:sldMkLst>
        <pc:spChg chg="mod">
          <ac:chgData name="Md Fahim Hasan" userId="92968fce-d4dd-4b9e-8635-66a07c9f98a7" providerId="ADAL" clId="{3A6F4128-6482-4C75-8C7D-220A75826C22}" dt="2023-07-27T15:51:58.279" v="35706"/>
          <ac:spMkLst>
            <pc:docMk/>
            <pc:sldMk cId="1341090871" sldId="2146846431"/>
            <ac:spMk id="2" creationId="{D6F33AD6-BCD0-7BD2-5890-1C682DC785B4}"/>
          </ac:spMkLst>
        </pc:spChg>
        <pc:spChg chg="add mod">
          <ac:chgData name="Md Fahim Hasan" userId="92968fce-d4dd-4b9e-8635-66a07c9f98a7" providerId="ADAL" clId="{3A6F4128-6482-4C75-8C7D-220A75826C22}" dt="2023-07-26T22:11:51.063" v="30806"/>
          <ac:spMkLst>
            <pc:docMk/>
            <pc:sldMk cId="1341090871" sldId="2146846431"/>
            <ac:spMk id="3" creationId="{5F7FACEC-2C6D-D3DC-7CE3-9725CEF51CBD}"/>
          </ac:spMkLst>
        </pc:spChg>
        <pc:spChg chg="mod">
          <ac:chgData name="Md Fahim Hasan" userId="92968fce-d4dd-4b9e-8635-66a07c9f98a7" providerId="ADAL" clId="{3A6F4128-6482-4C75-8C7D-220A75826C22}" dt="2023-07-25T20:21:17.532" v="20407" actId="20577"/>
          <ac:spMkLst>
            <pc:docMk/>
            <pc:sldMk cId="1341090871" sldId="2146846431"/>
            <ac:spMk id="5" creationId="{BC1754F1-682A-BE94-E0A0-10CA6FA4AE0D}"/>
          </ac:spMkLst>
        </pc:spChg>
        <pc:spChg chg="mod">
          <ac:chgData name="Md Fahim Hasan" userId="92968fce-d4dd-4b9e-8635-66a07c9f98a7" providerId="ADAL" clId="{3A6F4128-6482-4C75-8C7D-220A75826C22}" dt="2023-07-25T20:21:07.293" v="20396" actId="20577"/>
          <ac:spMkLst>
            <pc:docMk/>
            <pc:sldMk cId="1341090871" sldId="2146846431"/>
            <ac:spMk id="9" creationId="{DCE765C9-F866-A10C-05BC-B0F5CF7D4FA9}"/>
          </ac:spMkLst>
        </pc:spChg>
        <pc:spChg chg="add mod">
          <ac:chgData name="Md Fahim Hasan" userId="92968fce-d4dd-4b9e-8635-66a07c9f98a7" providerId="ADAL" clId="{3A6F4128-6482-4C75-8C7D-220A75826C22}" dt="2023-07-26T22:11:51.063" v="30806"/>
          <ac:spMkLst>
            <pc:docMk/>
            <pc:sldMk cId="1341090871" sldId="2146846431"/>
            <ac:spMk id="10" creationId="{807632C2-D134-EB7B-7CE3-0A7B09307782}"/>
          </ac:spMkLst>
        </pc:spChg>
        <pc:spChg chg="del">
          <ac:chgData name="Md Fahim Hasan" userId="92968fce-d4dd-4b9e-8635-66a07c9f98a7" providerId="ADAL" clId="{3A6F4128-6482-4C75-8C7D-220A75826C22}" dt="2023-07-26T22:11:50.030" v="30805" actId="478"/>
          <ac:spMkLst>
            <pc:docMk/>
            <pc:sldMk cId="1341090871" sldId="2146846431"/>
            <ac:spMk id="11" creationId="{34104EF3-AE2A-10CD-807A-5E8D98642890}"/>
          </ac:spMkLst>
        </pc:spChg>
        <pc:spChg chg="del">
          <ac:chgData name="Md Fahim Hasan" userId="92968fce-d4dd-4b9e-8635-66a07c9f98a7" providerId="ADAL" clId="{3A6F4128-6482-4C75-8C7D-220A75826C22}" dt="2023-07-26T22:11:50.030" v="30805" actId="478"/>
          <ac:spMkLst>
            <pc:docMk/>
            <pc:sldMk cId="1341090871" sldId="2146846431"/>
            <ac:spMk id="12" creationId="{563AE502-BE2B-F7DC-8070-3C524C7FC52F}"/>
          </ac:spMkLst>
        </pc:spChg>
        <pc:spChg chg="add mod">
          <ac:chgData name="Md Fahim Hasan" userId="92968fce-d4dd-4b9e-8635-66a07c9f98a7" providerId="ADAL" clId="{3A6F4128-6482-4C75-8C7D-220A75826C22}" dt="2023-07-26T22:12:04.856" v="30808" actId="1076"/>
          <ac:spMkLst>
            <pc:docMk/>
            <pc:sldMk cId="1341090871" sldId="2146846431"/>
            <ac:spMk id="13" creationId="{13351FEE-D1E1-907D-1976-25C38EF128B7}"/>
          </ac:spMkLst>
        </pc:spChg>
        <pc:spChg chg="add mod">
          <ac:chgData name="Md Fahim Hasan" userId="92968fce-d4dd-4b9e-8635-66a07c9f98a7" providerId="ADAL" clId="{3A6F4128-6482-4C75-8C7D-220A75826C22}" dt="2023-07-26T22:12:04.856" v="30808" actId="1076"/>
          <ac:spMkLst>
            <pc:docMk/>
            <pc:sldMk cId="1341090871" sldId="2146846431"/>
            <ac:spMk id="14" creationId="{4EC5EB06-36D2-6658-1316-98146D19F721}"/>
          </ac:spMkLst>
        </pc:spChg>
        <pc:spChg chg="del">
          <ac:chgData name="Md Fahim Hasan" userId="92968fce-d4dd-4b9e-8635-66a07c9f98a7" providerId="ADAL" clId="{3A6F4128-6482-4C75-8C7D-220A75826C22}" dt="2023-07-26T22:11:50.030" v="30805" actId="478"/>
          <ac:spMkLst>
            <pc:docMk/>
            <pc:sldMk cId="1341090871" sldId="2146846431"/>
            <ac:spMk id="15" creationId="{A831B13C-8409-F4FA-2FD1-7B0D4DD54039}"/>
          </ac:spMkLst>
        </pc:spChg>
        <pc:spChg chg="del">
          <ac:chgData name="Md Fahim Hasan" userId="92968fce-d4dd-4b9e-8635-66a07c9f98a7" providerId="ADAL" clId="{3A6F4128-6482-4C75-8C7D-220A75826C22}" dt="2023-07-26T22:11:50.030" v="30805" actId="478"/>
          <ac:spMkLst>
            <pc:docMk/>
            <pc:sldMk cId="1341090871" sldId="2146846431"/>
            <ac:spMk id="16" creationId="{74FA2828-4265-79AB-6956-60772E0CBF25}"/>
          </ac:spMkLst>
        </pc:spChg>
        <pc:picChg chg="mod">
          <ac:chgData name="Md Fahim Hasan" userId="92968fce-d4dd-4b9e-8635-66a07c9f98a7" providerId="ADAL" clId="{3A6F4128-6482-4C75-8C7D-220A75826C22}" dt="2023-07-26T23:47:32.317" v="30956" actId="14826"/>
          <ac:picMkLst>
            <pc:docMk/>
            <pc:sldMk cId="1341090871" sldId="2146846431"/>
            <ac:picMk id="4" creationId="{1B7C3091-DEA4-66D1-884C-6CB2FD58DBE7}"/>
          </ac:picMkLst>
        </pc:picChg>
        <pc:picChg chg="mod">
          <ac:chgData name="Md Fahim Hasan" userId="92968fce-d4dd-4b9e-8635-66a07c9f98a7" providerId="ADAL" clId="{3A6F4128-6482-4C75-8C7D-220A75826C22}" dt="2023-07-26T23:48:19.351" v="30957" actId="14826"/>
          <ac:picMkLst>
            <pc:docMk/>
            <pc:sldMk cId="1341090871" sldId="2146846431"/>
            <ac:picMk id="6" creationId="{5E2191B3-98E6-B694-F261-D599E1961C3A}"/>
          </ac:picMkLst>
        </pc:picChg>
        <pc:picChg chg="mod">
          <ac:chgData name="Md Fahim Hasan" userId="92968fce-d4dd-4b9e-8635-66a07c9f98a7" providerId="ADAL" clId="{3A6F4128-6482-4C75-8C7D-220A75826C22}" dt="2023-07-26T23:46:38.879" v="30954" actId="14826"/>
          <ac:picMkLst>
            <pc:docMk/>
            <pc:sldMk cId="1341090871" sldId="2146846431"/>
            <ac:picMk id="7" creationId="{B5713B37-2314-473A-D0AE-587C49D1AB77}"/>
          </ac:picMkLst>
        </pc:picChg>
        <pc:picChg chg="mod">
          <ac:chgData name="Md Fahim Hasan" userId="92968fce-d4dd-4b9e-8635-66a07c9f98a7" providerId="ADAL" clId="{3A6F4128-6482-4C75-8C7D-220A75826C22}" dt="2023-07-26T23:48:25.560" v="30958" actId="14826"/>
          <ac:picMkLst>
            <pc:docMk/>
            <pc:sldMk cId="1341090871" sldId="2146846431"/>
            <ac:picMk id="8" creationId="{B9E0931F-AF13-AB52-802B-BAF25FB5B5C6}"/>
          </ac:picMkLst>
        </pc:picChg>
      </pc:sldChg>
      <pc:sldChg chg="addSp delSp modSp add mod delAnim modAnim">
        <pc:chgData name="Md Fahim Hasan" userId="92968fce-d4dd-4b9e-8635-66a07c9f98a7" providerId="ADAL" clId="{3A6F4128-6482-4C75-8C7D-220A75826C22}" dt="2023-07-27T15:51:58.279" v="35706"/>
        <pc:sldMkLst>
          <pc:docMk/>
          <pc:sldMk cId="4249585210" sldId="2146846432"/>
        </pc:sldMkLst>
        <pc:spChg chg="mod">
          <ac:chgData name="Md Fahim Hasan" userId="92968fce-d4dd-4b9e-8635-66a07c9f98a7" providerId="ADAL" clId="{3A6F4128-6482-4C75-8C7D-220A75826C22}" dt="2023-07-27T15:51:58.279" v="35706"/>
          <ac:spMkLst>
            <pc:docMk/>
            <pc:sldMk cId="4249585210" sldId="2146846432"/>
            <ac:spMk id="2" creationId="{D6F33AD6-BCD0-7BD2-5890-1C682DC785B4}"/>
          </ac:spMkLst>
        </pc:spChg>
        <pc:spChg chg="add del mod">
          <ac:chgData name="Md Fahim Hasan" userId="92968fce-d4dd-4b9e-8635-66a07c9f98a7" providerId="ADAL" clId="{3A6F4128-6482-4C75-8C7D-220A75826C22}" dt="2023-07-26T20:50:39.575" v="28847"/>
          <ac:spMkLst>
            <pc:docMk/>
            <pc:sldMk cId="4249585210" sldId="2146846432"/>
            <ac:spMk id="3" creationId="{965F5781-A4EA-65D6-253C-0DD92AA96FC4}"/>
          </ac:spMkLst>
        </pc:spChg>
        <pc:spChg chg="mod">
          <ac:chgData name="Md Fahim Hasan" userId="92968fce-d4dd-4b9e-8635-66a07c9f98a7" providerId="ADAL" clId="{3A6F4128-6482-4C75-8C7D-220A75826C22}" dt="2023-07-25T20:22:58.997" v="20458" actId="20577"/>
          <ac:spMkLst>
            <pc:docMk/>
            <pc:sldMk cId="4249585210" sldId="2146846432"/>
            <ac:spMk id="5" creationId="{BC1754F1-682A-BE94-E0A0-10CA6FA4AE0D}"/>
          </ac:spMkLst>
        </pc:spChg>
        <pc:spChg chg="mod">
          <ac:chgData name="Md Fahim Hasan" userId="92968fce-d4dd-4b9e-8635-66a07c9f98a7" providerId="ADAL" clId="{3A6F4128-6482-4C75-8C7D-220A75826C22}" dt="2023-07-25T20:22:50.283" v="20439" actId="20577"/>
          <ac:spMkLst>
            <pc:docMk/>
            <pc:sldMk cId="4249585210" sldId="2146846432"/>
            <ac:spMk id="9" creationId="{DCE765C9-F866-A10C-05BC-B0F5CF7D4FA9}"/>
          </ac:spMkLst>
        </pc:spChg>
        <pc:spChg chg="add del mod">
          <ac:chgData name="Md Fahim Hasan" userId="92968fce-d4dd-4b9e-8635-66a07c9f98a7" providerId="ADAL" clId="{3A6F4128-6482-4C75-8C7D-220A75826C22}" dt="2023-07-26T20:50:39.575" v="28847"/>
          <ac:spMkLst>
            <pc:docMk/>
            <pc:sldMk cId="4249585210" sldId="2146846432"/>
            <ac:spMk id="10" creationId="{BBA5DA9D-CD17-9F2F-0216-CBD02DE260AB}"/>
          </ac:spMkLst>
        </pc:spChg>
        <pc:spChg chg="del">
          <ac:chgData name="Md Fahim Hasan" userId="92968fce-d4dd-4b9e-8635-66a07c9f98a7" providerId="ADAL" clId="{3A6F4128-6482-4C75-8C7D-220A75826C22}" dt="2023-07-26T20:50:27.376" v="28843" actId="478"/>
          <ac:spMkLst>
            <pc:docMk/>
            <pc:sldMk cId="4249585210" sldId="2146846432"/>
            <ac:spMk id="11" creationId="{34104EF3-AE2A-10CD-807A-5E8D98642890}"/>
          </ac:spMkLst>
        </pc:spChg>
        <pc:spChg chg="del">
          <ac:chgData name="Md Fahim Hasan" userId="92968fce-d4dd-4b9e-8635-66a07c9f98a7" providerId="ADAL" clId="{3A6F4128-6482-4C75-8C7D-220A75826C22}" dt="2023-07-26T20:50:40.683" v="28848" actId="478"/>
          <ac:spMkLst>
            <pc:docMk/>
            <pc:sldMk cId="4249585210" sldId="2146846432"/>
            <ac:spMk id="12" creationId="{563AE502-BE2B-F7DC-8070-3C524C7FC52F}"/>
          </ac:spMkLst>
        </pc:spChg>
        <pc:spChg chg="add mod">
          <ac:chgData name="Md Fahim Hasan" userId="92968fce-d4dd-4b9e-8635-66a07c9f98a7" providerId="ADAL" clId="{3A6F4128-6482-4C75-8C7D-220A75826C22}" dt="2023-07-26T20:50:41.607" v="28849"/>
          <ac:spMkLst>
            <pc:docMk/>
            <pc:sldMk cId="4249585210" sldId="2146846432"/>
            <ac:spMk id="13" creationId="{038F1632-34AB-40CF-A0B0-8681105383B3}"/>
          </ac:spMkLst>
        </pc:spChg>
        <pc:spChg chg="add mod">
          <ac:chgData name="Md Fahim Hasan" userId="92968fce-d4dd-4b9e-8635-66a07c9f98a7" providerId="ADAL" clId="{3A6F4128-6482-4C75-8C7D-220A75826C22}" dt="2023-07-26T20:50:41.607" v="28849"/>
          <ac:spMkLst>
            <pc:docMk/>
            <pc:sldMk cId="4249585210" sldId="2146846432"/>
            <ac:spMk id="14" creationId="{FD57BB42-3B18-E50B-CD21-93B14CD308B4}"/>
          </ac:spMkLst>
        </pc:spChg>
        <pc:spChg chg="del">
          <ac:chgData name="Md Fahim Hasan" userId="92968fce-d4dd-4b9e-8635-66a07c9f98a7" providerId="ADAL" clId="{3A6F4128-6482-4C75-8C7D-220A75826C22}" dt="2023-07-26T20:50:46.975" v="28850" actId="478"/>
          <ac:spMkLst>
            <pc:docMk/>
            <pc:sldMk cId="4249585210" sldId="2146846432"/>
            <ac:spMk id="15" creationId="{A831B13C-8409-F4FA-2FD1-7B0D4DD54039}"/>
          </ac:spMkLst>
        </pc:spChg>
        <pc:spChg chg="del">
          <ac:chgData name="Md Fahim Hasan" userId="92968fce-d4dd-4b9e-8635-66a07c9f98a7" providerId="ADAL" clId="{3A6F4128-6482-4C75-8C7D-220A75826C22}" dt="2023-07-26T20:50:46.975" v="28850" actId="478"/>
          <ac:spMkLst>
            <pc:docMk/>
            <pc:sldMk cId="4249585210" sldId="2146846432"/>
            <ac:spMk id="16" creationId="{74FA2828-4265-79AB-6956-60772E0CBF25}"/>
          </ac:spMkLst>
        </pc:spChg>
        <pc:spChg chg="add mod">
          <ac:chgData name="Md Fahim Hasan" userId="92968fce-d4dd-4b9e-8635-66a07c9f98a7" providerId="ADAL" clId="{3A6F4128-6482-4C75-8C7D-220A75826C22}" dt="2023-07-26T20:51:17.328" v="28855" actId="1076"/>
          <ac:spMkLst>
            <pc:docMk/>
            <pc:sldMk cId="4249585210" sldId="2146846432"/>
            <ac:spMk id="17" creationId="{3A10F1A5-1B40-27F3-9354-F125F4A01313}"/>
          </ac:spMkLst>
        </pc:spChg>
        <pc:spChg chg="add mod">
          <ac:chgData name="Md Fahim Hasan" userId="92968fce-d4dd-4b9e-8635-66a07c9f98a7" providerId="ADAL" clId="{3A6F4128-6482-4C75-8C7D-220A75826C22}" dt="2023-07-26T20:51:14.495" v="28854" actId="1076"/>
          <ac:spMkLst>
            <pc:docMk/>
            <pc:sldMk cId="4249585210" sldId="2146846432"/>
            <ac:spMk id="18" creationId="{D9B37AFE-AEA7-3084-AE1A-7A1906B7EEC8}"/>
          </ac:spMkLst>
        </pc:spChg>
        <pc:picChg chg="mod">
          <ac:chgData name="Md Fahim Hasan" userId="92968fce-d4dd-4b9e-8635-66a07c9f98a7" providerId="ADAL" clId="{3A6F4128-6482-4C75-8C7D-220A75826C22}" dt="2023-07-26T23:36:19.916" v="30942" actId="14826"/>
          <ac:picMkLst>
            <pc:docMk/>
            <pc:sldMk cId="4249585210" sldId="2146846432"/>
            <ac:picMk id="4" creationId="{1B7C3091-DEA4-66D1-884C-6CB2FD58DBE7}"/>
          </ac:picMkLst>
        </pc:picChg>
        <pc:picChg chg="mod">
          <ac:chgData name="Md Fahim Hasan" userId="92968fce-d4dd-4b9e-8635-66a07c9f98a7" providerId="ADAL" clId="{3A6F4128-6482-4C75-8C7D-220A75826C22}" dt="2023-07-26T20:52:37.364" v="28858" actId="14826"/>
          <ac:picMkLst>
            <pc:docMk/>
            <pc:sldMk cId="4249585210" sldId="2146846432"/>
            <ac:picMk id="6" creationId="{5E2191B3-98E6-B694-F261-D599E1961C3A}"/>
          </ac:picMkLst>
        </pc:picChg>
        <pc:picChg chg="mod">
          <ac:chgData name="Md Fahim Hasan" userId="92968fce-d4dd-4b9e-8635-66a07c9f98a7" providerId="ADAL" clId="{3A6F4128-6482-4C75-8C7D-220A75826C22}" dt="2023-07-26T23:35:27.959" v="30940" actId="14826"/>
          <ac:picMkLst>
            <pc:docMk/>
            <pc:sldMk cId="4249585210" sldId="2146846432"/>
            <ac:picMk id="7" creationId="{B5713B37-2314-473A-D0AE-587C49D1AB77}"/>
          </ac:picMkLst>
        </pc:picChg>
        <pc:picChg chg="mod">
          <ac:chgData name="Md Fahim Hasan" userId="92968fce-d4dd-4b9e-8635-66a07c9f98a7" providerId="ADAL" clId="{3A6F4128-6482-4C75-8C7D-220A75826C22}" dt="2023-07-26T23:37:42.938" v="30944" actId="14826"/>
          <ac:picMkLst>
            <pc:docMk/>
            <pc:sldMk cId="4249585210" sldId="2146846432"/>
            <ac:picMk id="8" creationId="{B9E0931F-AF13-AB52-802B-BAF25FB5B5C6}"/>
          </ac:picMkLst>
        </pc:picChg>
      </pc:sldChg>
      <pc:sldChg chg="add del">
        <pc:chgData name="Md Fahim Hasan" userId="92968fce-d4dd-4b9e-8635-66a07c9f98a7" providerId="ADAL" clId="{3A6F4128-6482-4C75-8C7D-220A75826C22}" dt="2023-07-26T20:52:57.675" v="28860" actId="47"/>
        <pc:sldMkLst>
          <pc:docMk/>
          <pc:sldMk cId="188364690" sldId="2146846433"/>
        </pc:sldMkLst>
      </pc:sldChg>
      <pc:sldChg chg="delSp add del setBg delDesignElem">
        <pc:chgData name="Md Fahim Hasan" userId="92968fce-d4dd-4b9e-8635-66a07c9f98a7" providerId="ADAL" clId="{3A6F4128-6482-4C75-8C7D-220A75826C22}" dt="2023-07-27T15:50:04.803" v="35700" actId="47"/>
        <pc:sldMkLst>
          <pc:docMk/>
          <pc:sldMk cId="346162532" sldId="2146846433"/>
        </pc:sldMkLst>
        <pc:spChg chg="del">
          <ac:chgData name="Md Fahim Hasan" userId="92968fce-d4dd-4b9e-8635-66a07c9f98a7" providerId="ADAL" clId="{3A6F4128-6482-4C75-8C7D-220A75826C22}" dt="2023-07-27T15:49:52.070" v="35699"/>
          <ac:spMkLst>
            <pc:docMk/>
            <pc:sldMk cId="346162532" sldId="2146846433"/>
            <ac:spMk id="14" creationId="{17718681-A12E-49D6-9925-DD7C68176D61}"/>
          </ac:spMkLst>
        </pc:spChg>
        <pc:spChg chg="del">
          <ac:chgData name="Md Fahim Hasan" userId="92968fce-d4dd-4b9e-8635-66a07c9f98a7" providerId="ADAL" clId="{3A6F4128-6482-4C75-8C7D-220A75826C22}" dt="2023-07-27T15:49:52.070" v="35699"/>
          <ac:spMkLst>
            <pc:docMk/>
            <pc:sldMk cId="346162532" sldId="2146846433"/>
            <ac:spMk id="16" creationId="{FBD77573-9EF2-4C35-8285-A1CF6FBB0EA5}"/>
          </ac:spMkLst>
        </pc:spChg>
      </pc:sldChg>
      <pc:sldChg chg="add del">
        <pc:chgData name="Md Fahim Hasan" userId="92968fce-d4dd-4b9e-8635-66a07c9f98a7" providerId="ADAL" clId="{3A6F4128-6482-4C75-8C7D-220A75826C22}" dt="2023-07-25T21:12:14.264" v="21110" actId="47"/>
        <pc:sldMkLst>
          <pc:docMk/>
          <pc:sldMk cId="3134003707" sldId="2146846433"/>
        </pc:sldMkLst>
      </pc:sldChg>
      <pc:sldChg chg="modSp add del mod">
        <pc:chgData name="Md Fahim Hasan" userId="92968fce-d4dd-4b9e-8635-66a07c9f98a7" providerId="ADAL" clId="{3A6F4128-6482-4C75-8C7D-220A75826C22}" dt="2023-07-25T20:24:33.072" v="20468" actId="47"/>
        <pc:sldMkLst>
          <pc:docMk/>
          <pc:sldMk cId="4125433541" sldId="2146846433"/>
        </pc:sldMkLst>
        <pc:spChg chg="mod">
          <ac:chgData name="Md Fahim Hasan" userId="92968fce-d4dd-4b9e-8635-66a07c9f98a7" providerId="ADAL" clId="{3A6F4128-6482-4C75-8C7D-220A75826C22}" dt="2023-07-25T20:24:28.444" v="20467" actId="20577"/>
          <ac:spMkLst>
            <pc:docMk/>
            <pc:sldMk cId="4125433541" sldId="2146846433"/>
            <ac:spMk id="9" creationId="{DCE765C9-F866-A10C-05BC-B0F5CF7D4FA9}"/>
          </ac:spMkLst>
        </pc:spChg>
      </pc:sldChg>
      <pc:sldChg chg="add del">
        <pc:chgData name="Md Fahim Hasan" userId="92968fce-d4dd-4b9e-8635-66a07c9f98a7" providerId="ADAL" clId="{3A6F4128-6482-4C75-8C7D-220A75826C22}" dt="2023-07-26T20:50:30.185" v="28845"/>
        <pc:sldMkLst>
          <pc:docMk/>
          <pc:sldMk cId="3692847609" sldId="2146846434"/>
        </pc:sldMkLst>
      </pc:sldChg>
      <pc:sldMasterChg chg="addSp delSp modSp mod modSldLayout">
        <pc:chgData name="Md Fahim Hasan" userId="92968fce-d4dd-4b9e-8635-66a07c9f98a7" providerId="ADAL" clId="{3A6F4128-6482-4C75-8C7D-220A75826C22}" dt="2023-07-27T15:49:36.895" v="35696" actId="33475"/>
        <pc:sldMasterMkLst>
          <pc:docMk/>
          <pc:sldMasterMk cId="4038401867" sldId="2147483648"/>
        </pc:sldMasterMkLst>
        <pc:spChg chg="del">
          <ac:chgData name="Md Fahim Hasan" userId="92968fce-d4dd-4b9e-8635-66a07c9f98a7" providerId="ADAL" clId="{3A6F4128-6482-4C75-8C7D-220A75826C22}" dt="2023-07-27T15:46:07.306" v="35675" actId="33475"/>
          <ac:spMkLst>
            <pc:docMk/>
            <pc:sldMasterMk cId="4038401867" sldId="2147483648"/>
            <ac:spMk id="8" creationId="{227DBA1F-874F-D230-754D-6221FB495EAF}"/>
          </ac:spMkLst>
        </pc:spChg>
        <pc:spChg chg="add del">
          <ac:chgData name="Md Fahim Hasan" userId="92968fce-d4dd-4b9e-8635-66a07c9f98a7" providerId="ADAL" clId="{3A6F4128-6482-4C75-8C7D-220A75826C22}" dt="2023-07-27T15:46:49.835" v="35678" actId="33475"/>
          <ac:spMkLst>
            <pc:docMk/>
            <pc:sldMasterMk cId="4038401867" sldId="2147483648"/>
            <ac:spMk id="9" creationId="{10F83691-4902-E953-615E-CD1A90474173}"/>
          </ac:spMkLst>
        </pc:spChg>
        <pc:spChg chg="add del">
          <ac:chgData name="Md Fahim Hasan" userId="92968fce-d4dd-4b9e-8635-66a07c9f98a7" providerId="ADAL" clId="{3A6F4128-6482-4C75-8C7D-220A75826C22}" dt="2023-07-27T15:48:17.901" v="35681" actId="33475"/>
          <ac:spMkLst>
            <pc:docMk/>
            <pc:sldMasterMk cId="4038401867" sldId="2147483648"/>
            <ac:spMk id="11" creationId="{20BBA2B4-8A89-8C5D-E5C3-A6E4980B921F}"/>
          </ac:spMkLst>
        </pc:spChg>
        <pc:spChg chg="add mod">
          <ac:chgData name="Md Fahim Hasan" userId="92968fce-d4dd-4b9e-8635-66a07c9f98a7" providerId="ADAL" clId="{3A6F4128-6482-4C75-8C7D-220A75826C22}" dt="2023-07-27T15:49:36.895" v="35696" actId="33475"/>
          <ac:spMkLst>
            <pc:docMk/>
            <pc:sldMasterMk cId="4038401867" sldId="2147483648"/>
            <ac:spMk id="13" creationId="{6F5D3AD0-8C37-632B-6BAF-46AB667E0B67}"/>
          </ac:spMkLst>
        </pc:spChg>
        <pc:sldLayoutChg chg="modSp mod">
          <pc:chgData name="Md Fahim Hasan" userId="92968fce-d4dd-4b9e-8635-66a07c9f98a7" providerId="ADAL" clId="{3A6F4128-6482-4C75-8C7D-220A75826C22}" dt="2023-07-21T16:12:21.668" v="11289" actId="255"/>
          <pc:sldLayoutMkLst>
            <pc:docMk/>
            <pc:sldMasterMk cId="4038401867" sldId="2147483648"/>
            <pc:sldLayoutMk cId="2252221452" sldId="2147483661"/>
          </pc:sldLayoutMkLst>
          <pc:spChg chg="mod">
            <ac:chgData name="Md Fahim Hasan" userId="92968fce-d4dd-4b9e-8635-66a07c9f98a7" providerId="ADAL" clId="{3A6F4128-6482-4C75-8C7D-220A75826C22}" dt="2023-07-21T16:11:06.516" v="11284" actId="1076"/>
            <ac:spMkLst>
              <pc:docMk/>
              <pc:sldMasterMk cId="4038401867" sldId="2147483648"/>
              <pc:sldLayoutMk cId="2252221452" sldId="2147483661"/>
              <ac:spMk id="4" creationId="{00000000-0000-0000-0000-000000000000}"/>
            </ac:spMkLst>
          </pc:spChg>
          <pc:spChg chg="mod">
            <ac:chgData name="Md Fahim Hasan" userId="92968fce-d4dd-4b9e-8635-66a07c9f98a7" providerId="ADAL" clId="{3A6F4128-6482-4C75-8C7D-220A75826C22}" dt="2023-07-21T16:12:21.668" v="11289" actId="255"/>
            <ac:spMkLst>
              <pc:docMk/>
              <pc:sldMasterMk cId="4038401867" sldId="2147483648"/>
              <pc:sldLayoutMk cId="2252221452" sldId="2147483661"/>
              <ac:spMk id="6" creationId="{00000000-0000-0000-0000-000000000000}"/>
            </ac:spMkLst>
          </pc:spChg>
        </pc:sldLayoutChg>
      </pc:sldMasterChg>
      <pc:sldMasterChg chg="addSp mod">
        <pc:chgData name="Md Fahim Hasan" userId="92968fce-d4dd-4b9e-8635-66a07c9f98a7" providerId="ADAL" clId="{3A6F4128-6482-4C75-8C7D-220A75826C22}" dt="2023-07-27T15:52:46.031" v="35713" actId="33475"/>
        <pc:sldMasterMkLst>
          <pc:docMk/>
          <pc:sldMasterMk cId="504622474" sldId="2147483662"/>
        </pc:sldMasterMkLst>
        <pc:spChg chg="add">
          <ac:chgData name="Md Fahim Hasan" userId="92968fce-d4dd-4b9e-8635-66a07c9f98a7" providerId="ADAL" clId="{3A6F4128-6482-4C75-8C7D-220A75826C22}" dt="2023-07-27T15:52:46.031" v="35713" actId="33475"/>
          <ac:spMkLst>
            <pc:docMk/>
            <pc:sldMasterMk cId="504622474" sldId="2147483662"/>
            <ac:spMk id="8" creationId="{03E95661-7743-F296-1F96-72676123408F}"/>
          </ac:spMkLst>
        </pc:spChg>
      </pc:sldMasterChg>
    </pc:docChg>
  </pc:docChgLst>
  <pc:docChgLst>
    <pc:chgData name="Ariel Wang" userId="d2c7e74e-eae9-4734-a288-19d4dc96c996" providerId="ADAL" clId="{6707D0DE-09F7-DB41-A5DA-F59333012196}"/>
    <pc:docChg chg="undo custSel modSld">
      <pc:chgData name="Ariel Wang" userId="d2c7e74e-eae9-4734-a288-19d4dc96c996" providerId="ADAL" clId="{6707D0DE-09F7-DB41-A5DA-F59333012196}" dt="2023-07-27T19:14:30.145" v="3054" actId="113"/>
      <pc:docMkLst>
        <pc:docMk/>
      </pc:docMkLst>
      <pc:sldChg chg="modSp mod addCm">
        <pc:chgData name="Ariel Wang" userId="d2c7e74e-eae9-4734-a288-19d4dc96c996" providerId="ADAL" clId="{6707D0DE-09F7-DB41-A5DA-F59333012196}" dt="2023-07-25T15:03:01.179" v="2"/>
        <pc:sldMkLst>
          <pc:docMk/>
          <pc:sldMk cId="4056719616" sldId="2146846337"/>
        </pc:sldMkLst>
        <pc:spChg chg="mod">
          <ac:chgData name="Ariel Wang" userId="d2c7e74e-eae9-4734-a288-19d4dc96c996" providerId="ADAL" clId="{6707D0DE-09F7-DB41-A5DA-F59333012196}" dt="2023-07-25T15:02:14.098" v="1" actId="403"/>
          <ac:spMkLst>
            <pc:docMk/>
            <pc:sldMk cId="4056719616" sldId="2146846337"/>
            <ac:spMk id="10" creationId="{F6E243F7-F258-1A63-610D-FF7CD8668613}"/>
          </ac:spMkLst>
        </pc:spChg>
      </pc:sldChg>
      <pc:sldChg chg="modSp mod">
        <pc:chgData name="Ariel Wang" userId="d2c7e74e-eae9-4734-a288-19d4dc96c996" providerId="ADAL" clId="{6707D0DE-09F7-DB41-A5DA-F59333012196}" dt="2023-07-27T19:06:38.390" v="2888" actId="27636"/>
        <pc:sldMkLst>
          <pc:docMk/>
          <pc:sldMk cId="592699982" sldId="2146846382"/>
        </pc:sldMkLst>
        <pc:spChg chg="mod">
          <ac:chgData name="Ariel Wang" userId="d2c7e74e-eae9-4734-a288-19d4dc96c996" providerId="ADAL" clId="{6707D0DE-09F7-DB41-A5DA-F59333012196}" dt="2023-07-27T19:06:38.390" v="2888" actId="27636"/>
          <ac:spMkLst>
            <pc:docMk/>
            <pc:sldMk cId="592699982" sldId="2146846382"/>
            <ac:spMk id="5" creationId="{6B0E3D4A-AE11-4EEE-47A3-F08F39D0D674}"/>
          </ac:spMkLst>
        </pc:spChg>
      </pc:sldChg>
      <pc:sldChg chg="addSp delSp modSp mod addCm modCm modNotesTx">
        <pc:chgData name="Ariel Wang" userId="d2c7e74e-eae9-4734-a288-19d4dc96c996" providerId="ADAL" clId="{6707D0DE-09F7-DB41-A5DA-F59333012196}" dt="2023-07-27T19:10:28.332" v="3051" actId="20577"/>
        <pc:sldMkLst>
          <pc:docMk/>
          <pc:sldMk cId="3666602129" sldId="2146846383"/>
        </pc:sldMkLst>
        <pc:spChg chg="add del mod">
          <ac:chgData name="Ariel Wang" userId="d2c7e74e-eae9-4734-a288-19d4dc96c996" providerId="ADAL" clId="{6707D0DE-09F7-DB41-A5DA-F59333012196}" dt="2023-07-26T22:31:29.044" v="895" actId="1076"/>
          <ac:spMkLst>
            <pc:docMk/>
            <pc:sldMk cId="3666602129" sldId="2146846383"/>
            <ac:spMk id="3" creationId="{47362F07-4913-5AB4-655D-190F6C4B7BB8}"/>
          </ac:spMkLst>
        </pc:spChg>
        <pc:spChg chg="mod topLvl">
          <ac:chgData name="Ariel Wang" userId="d2c7e74e-eae9-4734-a288-19d4dc96c996" providerId="ADAL" clId="{6707D0DE-09F7-DB41-A5DA-F59333012196}" dt="2023-07-26T22:30:29.649" v="850" actId="33524"/>
          <ac:spMkLst>
            <pc:docMk/>
            <pc:sldMk cId="3666602129" sldId="2146846383"/>
            <ac:spMk id="8" creationId="{B6129EBB-5BBC-0496-43B1-E5DD89BBC166}"/>
          </ac:spMkLst>
        </pc:spChg>
        <pc:spChg chg="del topLvl">
          <ac:chgData name="Ariel Wang" userId="d2c7e74e-eae9-4734-a288-19d4dc96c996" providerId="ADAL" clId="{6707D0DE-09F7-DB41-A5DA-F59333012196}" dt="2023-07-26T22:27:47.510" v="753" actId="478"/>
          <ac:spMkLst>
            <pc:docMk/>
            <pc:sldMk cId="3666602129" sldId="2146846383"/>
            <ac:spMk id="10" creationId="{FD2BE369-0164-20DF-CE48-AEBDAC58B505}"/>
          </ac:spMkLst>
        </pc:spChg>
        <pc:spChg chg="mod">
          <ac:chgData name="Ariel Wang" userId="d2c7e74e-eae9-4734-a288-19d4dc96c996" providerId="ADAL" clId="{6707D0DE-09F7-DB41-A5DA-F59333012196}" dt="2023-07-25T16:27:52.975" v="29" actId="20577"/>
          <ac:spMkLst>
            <pc:docMk/>
            <pc:sldMk cId="3666602129" sldId="2146846383"/>
            <ac:spMk id="14" creationId="{B9F5EBE5-BF4F-6602-E462-2A211297793D}"/>
          </ac:spMkLst>
        </pc:spChg>
        <pc:grpChg chg="del">
          <ac:chgData name="Ariel Wang" userId="d2c7e74e-eae9-4734-a288-19d4dc96c996" providerId="ADAL" clId="{6707D0DE-09F7-DB41-A5DA-F59333012196}" dt="2023-07-26T22:27:47.510" v="753" actId="478"/>
          <ac:grpSpMkLst>
            <pc:docMk/>
            <pc:sldMk cId="3666602129" sldId="2146846383"/>
            <ac:grpSpMk id="11" creationId="{A0E860F0-76C5-0E31-CEEB-C002D6CBA973}"/>
          </ac:grpSpMkLst>
        </pc:grpChg>
        <pc:graphicFrameChg chg="mod">
          <ac:chgData name="Ariel Wang" userId="d2c7e74e-eae9-4734-a288-19d4dc96c996" providerId="ADAL" clId="{6707D0DE-09F7-DB41-A5DA-F59333012196}" dt="2023-07-26T23:15:54.002" v="999" actId="20577"/>
          <ac:graphicFrameMkLst>
            <pc:docMk/>
            <pc:sldMk cId="3666602129" sldId="2146846383"/>
            <ac:graphicFrameMk id="15" creationId="{A1F61D02-76F0-6BAF-2680-6342F5A3100A}"/>
          </ac:graphicFrameMkLst>
        </pc:graphicFrameChg>
      </pc:sldChg>
      <pc:sldChg chg="modSp mod addCm">
        <pc:chgData name="Ariel Wang" userId="d2c7e74e-eae9-4734-a288-19d4dc96c996" providerId="ADAL" clId="{6707D0DE-09F7-DB41-A5DA-F59333012196}" dt="2023-07-26T22:37:15.269" v="896"/>
        <pc:sldMkLst>
          <pc:docMk/>
          <pc:sldMk cId="268688356" sldId="2146846385"/>
        </pc:sldMkLst>
        <pc:spChg chg="mod">
          <ac:chgData name="Ariel Wang" userId="d2c7e74e-eae9-4734-a288-19d4dc96c996" providerId="ADAL" clId="{6707D0DE-09F7-DB41-A5DA-F59333012196}" dt="2023-07-25T16:30:17.024" v="34" actId="1076"/>
          <ac:spMkLst>
            <pc:docMk/>
            <pc:sldMk cId="268688356" sldId="2146846385"/>
            <ac:spMk id="5" creationId="{78336494-07A2-AFEF-44BC-F6BB3B326DA1}"/>
          </ac:spMkLst>
        </pc:spChg>
      </pc:sldChg>
      <pc:sldChg chg="modSp mod">
        <pc:chgData name="Ariel Wang" userId="d2c7e74e-eae9-4734-a288-19d4dc96c996" providerId="ADAL" clId="{6707D0DE-09F7-DB41-A5DA-F59333012196}" dt="2023-07-27T19:12:49.139" v="3052" actId="20577"/>
        <pc:sldMkLst>
          <pc:docMk/>
          <pc:sldMk cId="2477569122" sldId="2146846390"/>
        </pc:sldMkLst>
        <pc:spChg chg="mod">
          <ac:chgData name="Ariel Wang" userId="d2c7e74e-eae9-4734-a288-19d4dc96c996" providerId="ADAL" clId="{6707D0DE-09F7-DB41-A5DA-F59333012196}" dt="2023-07-27T19:12:49.139" v="3052" actId="20577"/>
          <ac:spMkLst>
            <pc:docMk/>
            <pc:sldMk cId="2477569122" sldId="2146846390"/>
            <ac:spMk id="4" creationId="{59A6018B-9E1B-2CF1-7DA2-59B339EE12B2}"/>
          </ac:spMkLst>
        </pc:spChg>
      </pc:sldChg>
      <pc:sldChg chg="mod modShow addCm">
        <pc:chgData name="Ariel Wang" userId="d2c7e74e-eae9-4734-a288-19d4dc96c996" providerId="ADAL" clId="{6707D0DE-09F7-DB41-A5DA-F59333012196}" dt="2023-07-25T16:21:24.638" v="5"/>
        <pc:sldMkLst>
          <pc:docMk/>
          <pc:sldMk cId="1519544032" sldId="2146846399"/>
        </pc:sldMkLst>
      </pc:sldChg>
      <pc:sldChg chg="modSp mod">
        <pc:chgData name="Ariel Wang" userId="d2c7e74e-eae9-4734-a288-19d4dc96c996" providerId="ADAL" clId="{6707D0DE-09F7-DB41-A5DA-F59333012196}" dt="2023-07-27T19:14:30.145" v="3054" actId="113"/>
        <pc:sldMkLst>
          <pc:docMk/>
          <pc:sldMk cId="3126584536" sldId="2146846401"/>
        </pc:sldMkLst>
        <pc:spChg chg="mod">
          <ac:chgData name="Ariel Wang" userId="d2c7e74e-eae9-4734-a288-19d4dc96c996" providerId="ADAL" clId="{6707D0DE-09F7-DB41-A5DA-F59333012196}" dt="2023-07-27T19:14:30.145" v="3054" actId="113"/>
          <ac:spMkLst>
            <pc:docMk/>
            <pc:sldMk cId="3126584536" sldId="2146846401"/>
            <ac:spMk id="2" creationId="{7954C781-6118-2324-A69A-96D5BF3A525F}"/>
          </ac:spMkLst>
        </pc:spChg>
      </pc:sldChg>
      <pc:sldChg chg="mod modShow">
        <pc:chgData name="Ariel Wang" userId="d2c7e74e-eae9-4734-a288-19d4dc96c996" providerId="ADAL" clId="{6707D0DE-09F7-DB41-A5DA-F59333012196}" dt="2023-07-25T16:21:52.359" v="6" actId="729"/>
        <pc:sldMkLst>
          <pc:docMk/>
          <pc:sldMk cId="3556960417" sldId="2146846404"/>
        </pc:sldMkLst>
      </pc:sldChg>
      <pc:sldChg chg="addSp modSp mod">
        <pc:chgData name="Ariel Wang" userId="d2c7e74e-eae9-4734-a288-19d4dc96c996" providerId="ADAL" clId="{6707D0DE-09F7-DB41-A5DA-F59333012196}" dt="2023-07-25T17:26:17.449" v="46" actId="1076"/>
        <pc:sldMkLst>
          <pc:docMk/>
          <pc:sldMk cId="4158318354" sldId="2146846405"/>
        </pc:sldMkLst>
        <pc:picChg chg="add mod modCrop">
          <ac:chgData name="Ariel Wang" userId="d2c7e74e-eae9-4734-a288-19d4dc96c996" providerId="ADAL" clId="{6707D0DE-09F7-DB41-A5DA-F59333012196}" dt="2023-07-25T17:26:10.468" v="40" actId="1076"/>
          <ac:picMkLst>
            <pc:docMk/>
            <pc:sldMk cId="4158318354" sldId="2146846405"/>
            <ac:picMk id="7" creationId="{7933CCE4-2345-F731-C00F-AEC32D0BEB53}"/>
          </ac:picMkLst>
        </pc:picChg>
        <pc:picChg chg="add mod">
          <ac:chgData name="Ariel Wang" userId="d2c7e74e-eae9-4734-a288-19d4dc96c996" providerId="ADAL" clId="{6707D0DE-09F7-DB41-A5DA-F59333012196}" dt="2023-07-25T17:26:12.944" v="42" actId="1076"/>
          <ac:picMkLst>
            <pc:docMk/>
            <pc:sldMk cId="4158318354" sldId="2146846405"/>
            <ac:picMk id="10" creationId="{F75BF2A5-2790-A746-0313-ABF0A7988758}"/>
          </ac:picMkLst>
        </pc:picChg>
        <pc:picChg chg="add mod">
          <ac:chgData name="Ariel Wang" userId="d2c7e74e-eae9-4734-a288-19d4dc96c996" providerId="ADAL" clId="{6707D0DE-09F7-DB41-A5DA-F59333012196}" dt="2023-07-25T17:26:14.909" v="44" actId="1076"/>
          <ac:picMkLst>
            <pc:docMk/>
            <pc:sldMk cId="4158318354" sldId="2146846405"/>
            <ac:picMk id="13" creationId="{600A6E69-3336-B0AB-21E8-9B46B3B7FED5}"/>
          </ac:picMkLst>
        </pc:picChg>
        <pc:picChg chg="add mod">
          <ac:chgData name="Ariel Wang" userId="d2c7e74e-eae9-4734-a288-19d4dc96c996" providerId="ADAL" clId="{6707D0DE-09F7-DB41-A5DA-F59333012196}" dt="2023-07-25T17:26:17.449" v="46" actId="1076"/>
          <ac:picMkLst>
            <pc:docMk/>
            <pc:sldMk cId="4158318354" sldId="2146846405"/>
            <ac:picMk id="14" creationId="{C8CC61A1-CC55-4DD4-7937-04171FD999C6}"/>
          </ac:picMkLst>
        </pc:picChg>
      </pc:sldChg>
      <pc:sldChg chg="addSp delSp modSp mod modNotesTx">
        <pc:chgData name="Ariel Wang" userId="d2c7e74e-eae9-4734-a288-19d4dc96c996" providerId="ADAL" clId="{6707D0DE-09F7-DB41-A5DA-F59333012196}" dt="2023-07-27T18:00:48.148" v="1200" actId="20577"/>
        <pc:sldMkLst>
          <pc:docMk/>
          <pc:sldMk cId="3999969760" sldId="2146846407"/>
        </pc:sldMkLst>
        <pc:spChg chg="mod">
          <ac:chgData name="Ariel Wang" userId="d2c7e74e-eae9-4734-a288-19d4dc96c996" providerId="ADAL" clId="{6707D0DE-09F7-DB41-A5DA-F59333012196}" dt="2023-07-27T17:57:34.727" v="1118" actId="20577"/>
          <ac:spMkLst>
            <pc:docMk/>
            <pc:sldMk cId="3999969760" sldId="2146846407"/>
            <ac:spMk id="3" creationId="{A9B6433A-3584-BD51-F3B5-89DCB9E2F96D}"/>
          </ac:spMkLst>
        </pc:spChg>
        <pc:spChg chg="mod">
          <ac:chgData name="Ariel Wang" userId="d2c7e74e-eae9-4734-a288-19d4dc96c996" providerId="ADAL" clId="{6707D0DE-09F7-DB41-A5DA-F59333012196}" dt="2023-07-27T18:00:48.148" v="1200" actId="20577"/>
          <ac:spMkLst>
            <pc:docMk/>
            <pc:sldMk cId="3999969760" sldId="2146846407"/>
            <ac:spMk id="7" creationId="{75F947B2-123B-E347-59AC-F0AB539999A7}"/>
          </ac:spMkLst>
        </pc:spChg>
        <pc:picChg chg="add del mod">
          <ac:chgData name="Ariel Wang" userId="d2c7e74e-eae9-4734-a288-19d4dc96c996" providerId="ADAL" clId="{6707D0DE-09F7-DB41-A5DA-F59333012196}" dt="2023-07-26T23:14:24.605" v="983" actId="478"/>
          <ac:picMkLst>
            <pc:docMk/>
            <pc:sldMk cId="3999969760" sldId="2146846407"/>
            <ac:picMk id="4" creationId="{7CF91639-33AC-BDDD-0224-6D11C4B0C940}"/>
          </ac:picMkLst>
        </pc:picChg>
        <pc:picChg chg="add mod">
          <ac:chgData name="Ariel Wang" userId="d2c7e74e-eae9-4734-a288-19d4dc96c996" providerId="ADAL" clId="{6707D0DE-09F7-DB41-A5DA-F59333012196}" dt="2023-07-26T23:03:25.518" v="944" actId="1076"/>
          <ac:picMkLst>
            <pc:docMk/>
            <pc:sldMk cId="3999969760" sldId="2146846407"/>
            <ac:picMk id="1026" creationId="{EFAF2E77-8CEC-C19A-2F55-F19157E9D271}"/>
          </ac:picMkLst>
        </pc:picChg>
        <pc:picChg chg="add mod">
          <ac:chgData name="Ariel Wang" userId="d2c7e74e-eae9-4734-a288-19d4dc96c996" providerId="ADAL" clId="{6707D0DE-09F7-DB41-A5DA-F59333012196}" dt="2023-07-26T23:04:38.983" v="950" actId="1076"/>
          <ac:picMkLst>
            <pc:docMk/>
            <pc:sldMk cId="3999969760" sldId="2146846407"/>
            <ac:picMk id="1028" creationId="{FA4DE5DB-293A-BB1F-C2A6-80419B433D04}"/>
          </ac:picMkLst>
        </pc:picChg>
      </pc:sldChg>
      <pc:sldChg chg="addSp delSp modSp mod addCm modCm">
        <pc:chgData name="Ariel Wang" userId="d2c7e74e-eae9-4734-a288-19d4dc96c996" providerId="ADAL" clId="{6707D0DE-09F7-DB41-A5DA-F59333012196}" dt="2023-07-26T04:23:41.072" v="417"/>
        <pc:sldMkLst>
          <pc:docMk/>
          <pc:sldMk cId="1472277841" sldId="2146846408"/>
        </pc:sldMkLst>
        <pc:spChg chg="add del">
          <ac:chgData name="Ariel Wang" userId="d2c7e74e-eae9-4734-a288-19d4dc96c996" providerId="ADAL" clId="{6707D0DE-09F7-DB41-A5DA-F59333012196}" dt="2023-07-25T17:40:04.333" v="157" actId="478"/>
          <ac:spMkLst>
            <pc:docMk/>
            <pc:sldMk cId="1472277841" sldId="2146846408"/>
            <ac:spMk id="5" creationId="{824CF96C-2EDE-BD49-86D2-A7A0C1D72611}"/>
          </ac:spMkLst>
        </pc:spChg>
        <pc:spChg chg="add mod">
          <ac:chgData name="Ariel Wang" userId="d2c7e74e-eae9-4734-a288-19d4dc96c996" providerId="ADAL" clId="{6707D0DE-09F7-DB41-A5DA-F59333012196}" dt="2023-07-25T17:43:55.422" v="375" actId="1076"/>
          <ac:spMkLst>
            <pc:docMk/>
            <pc:sldMk cId="1472277841" sldId="2146846408"/>
            <ac:spMk id="6" creationId="{6205F78A-3EBE-BE3F-1846-62A2F956B4B0}"/>
          </ac:spMkLst>
        </pc:spChg>
        <pc:spChg chg="add mod">
          <ac:chgData name="Ariel Wang" userId="d2c7e74e-eae9-4734-a288-19d4dc96c996" providerId="ADAL" clId="{6707D0DE-09F7-DB41-A5DA-F59333012196}" dt="2023-07-25T17:43:55.422" v="375" actId="1076"/>
          <ac:spMkLst>
            <pc:docMk/>
            <pc:sldMk cId="1472277841" sldId="2146846408"/>
            <ac:spMk id="7" creationId="{72ECC0E0-7197-AA3F-131F-5E088B6EC931}"/>
          </ac:spMkLst>
        </pc:spChg>
        <pc:spChg chg="add mod">
          <ac:chgData name="Ariel Wang" userId="d2c7e74e-eae9-4734-a288-19d4dc96c996" providerId="ADAL" clId="{6707D0DE-09F7-DB41-A5DA-F59333012196}" dt="2023-07-25T17:43:55.422" v="375" actId="1076"/>
          <ac:spMkLst>
            <pc:docMk/>
            <pc:sldMk cId="1472277841" sldId="2146846408"/>
            <ac:spMk id="8" creationId="{ECE8581D-9800-4DDB-D3A0-7B75B8FB1B46}"/>
          </ac:spMkLst>
        </pc:spChg>
        <pc:spChg chg="add mod">
          <ac:chgData name="Ariel Wang" userId="d2c7e74e-eae9-4734-a288-19d4dc96c996" providerId="ADAL" clId="{6707D0DE-09F7-DB41-A5DA-F59333012196}" dt="2023-07-25T17:43:55.422" v="375" actId="1076"/>
          <ac:spMkLst>
            <pc:docMk/>
            <pc:sldMk cId="1472277841" sldId="2146846408"/>
            <ac:spMk id="10" creationId="{7AE5803D-2B8D-47BB-A12F-C85D3779021D}"/>
          </ac:spMkLst>
        </pc:spChg>
        <pc:spChg chg="add del">
          <ac:chgData name="Ariel Wang" userId="d2c7e74e-eae9-4734-a288-19d4dc96c996" providerId="ADAL" clId="{6707D0DE-09F7-DB41-A5DA-F59333012196}" dt="2023-07-25T17:41:31.172" v="254" actId="478"/>
          <ac:spMkLst>
            <pc:docMk/>
            <pc:sldMk cId="1472277841" sldId="2146846408"/>
            <ac:spMk id="11" creationId="{DC0B38C3-5BF4-9898-338E-C031A526CAE9}"/>
          </ac:spMkLst>
        </pc:spChg>
        <pc:spChg chg="add mod">
          <ac:chgData name="Ariel Wang" userId="d2c7e74e-eae9-4734-a288-19d4dc96c996" providerId="ADAL" clId="{6707D0DE-09F7-DB41-A5DA-F59333012196}" dt="2023-07-25T17:45:25.775" v="409" actId="1076"/>
          <ac:spMkLst>
            <pc:docMk/>
            <pc:sldMk cId="1472277841" sldId="2146846408"/>
            <ac:spMk id="18" creationId="{AC3CBFA3-7FA8-85D5-7DE8-59D405D204C9}"/>
          </ac:spMkLst>
        </pc:spChg>
        <pc:spChg chg="add mod">
          <ac:chgData name="Ariel Wang" userId="d2c7e74e-eae9-4734-a288-19d4dc96c996" providerId="ADAL" clId="{6707D0DE-09F7-DB41-A5DA-F59333012196}" dt="2023-07-25T17:45:17.811" v="405" actId="1076"/>
          <ac:spMkLst>
            <pc:docMk/>
            <pc:sldMk cId="1472277841" sldId="2146846408"/>
            <ac:spMk id="19" creationId="{9A33764A-9917-A07B-92E1-E66FD52A4CA8}"/>
          </ac:spMkLst>
        </pc:spChg>
        <pc:spChg chg="add mod">
          <ac:chgData name="Ariel Wang" userId="d2c7e74e-eae9-4734-a288-19d4dc96c996" providerId="ADAL" clId="{6707D0DE-09F7-DB41-A5DA-F59333012196}" dt="2023-07-25T17:45:36.183" v="415" actId="1076"/>
          <ac:spMkLst>
            <pc:docMk/>
            <pc:sldMk cId="1472277841" sldId="2146846408"/>
            <ac:spMk id="20" creationId="{1A58CBB7-A824-507D-EDB4-6203731FB829}"/>
          </ac:spMkLst>
        </pc:spChg>
        <pc:spChg chg="add mod">
          <ac:chgData name="Ariel Wang" userId="d2c7e74e-eae9-4734-a288-19d4dc96c996" providerId="ADAL" clId="{6707D0DE-09F7-DB41-A5DA-F59333012196}" dt="2023-07-25T17:45:24.300" v="408" actId="1076"/>
          <ac:spMkLst>
            <pc:docMk/>
            <pc:sldMk cId="1472277841" sldId="2146846408"/>
            <ac:spMk id="21" creationId="{10711508-E5D8-8433-608C-8A0442536AA0}"/>
          </ac:spMkLst>
        </pc:spChg>
        <pc:spChg chg="add mod">
          <ac:chgData name="Ariel Wang" userId="d2c7e74e-eae9-4734-a288-19d4dc96c996" providerId="ADAL" clId="{6707D0DE-09F7-DB41-A5DA-F59333012196}" dt="2023-07-25T17:45:28.970" v="412" actId="1076"/>
          <ac:spMkLst>
            <pc:docMk/>
            <pc:sldMk cId="1472277841" sldId="2146846408"/>
            <ac:spMk id="22" creationId="{04D66BED-2E2E-6C69-3EB8-91924493A7F4}"/>
          </ac:spMkLst>
        </pc:spChg>
        <pc:spChg chg="add mod">
          <ac:chgData name="Ariel Wang" userId="d2c7e74e-eae9-4734-a288-19d4dc96c996" providerId="ADAL" clId="{6707D0DE-09F7-DB41-A5DA-F59333012196}" dt="2023-07-25T17:45:33.082" v="414" actId="1076"/>
          <ac:spMkLst>
            <pc:docMk/>
            <pc:sldMk cId="1472277841" sldId="2146846408"/>
            <ac:spMk id="23" creationId="{4FA4E587-8557-4C2C-33FA-2D504E9E0022}"/>
          </ac:spMkLst>
        </pc:spChg>
        <pc:spChg chg="add mod">
          <ac:chgData name="Ariel Wang" userId="d2c7e74e-eae9-4734-a288-19d4dc96c996" providerId="ADAL" clId="{6707D0DE-09F7-DB41-A5DA-F59333012196}" dt="2023-07-25T17:45:21.012" v="406" actId="1076"/>
          <ac:spMkLst>
            <pc:docMk/>
            <pc:sldMk cId="1472277841" sldId="2146846408"/>
            <ac:spMk id="24" creationId="{0336DF13-A7D7-E236-F05F-883A26A906F8}"/>
          </ac:spMkLst>
        </pc:spChg>
        <pc:spChg chg="add mod">
          <ac:chgData name="Ariel Wang" userId="d2c7e74e-eae9-4734-a288-19d4dc96c996" providerId="ADAL" clId="{6707D0DE-09F7-DB41-A5DA-F59333012196}" dt="2023-07-25T17:45:22.772" v="407" actId="1076"/>
          <ac:spMkLst>
            <pc:docMk/>
            <pc:sldMk cId="1472277841" sldId="2146846408"/>
            <ac:spMk id="25" creationId="{3A0BA5D7-145C-A133-5207-240BB0E7C960}"/>
          </ac:spMkLst>
        </pc:spChg>
        <pc:spChg chg="add mod">
          <ac:chgData name="Ariel Wang" userId="d2c7e74e-eae9-4734-a288-19d4dc96c996" providerId="ADAL" clId="{6707D0DE-09F7-DB41-A5DA-F59333012196}" dt="2023-07-25T17:45:12.734" v="404" actId="17032"/>
          <ac:spMkLst>
            <pc:docMk/>
            <pc:sldMk cId="1472277841" sldId="2146846408"/>
            <ac:spMk id="26" creationId="{77E6E9CB-1D46-4F29-96F4-91A9AA5483D1}"/>
          </ac:spMkLst>
        </pc:spChg>
        <pc:graphicFrameChg chg="add del mod modGraphic">
          <ac:chgData name="Ariel Wang" userId="d2c7e74e-eae9-4734-a288-19d4dc96c996" providerId="ADAL" clId="{6707D0DE-09F7-DB41-A5DA-F59333012196}" dt="2023-07-25T17:38:37.928" v="155" actId="478"/>
          <ac:graphicFrameMkLst>
            <pc:docMk/>
            <pc:sldMk cId="1472277841" sldId="2146846408"/>
            <ac:graphicFrameMk id="4" creationId="{3F758ED4-AB1C-26C4-6300-A71A49638DC2}"/>
          </ac:graphicFrameMkLst>
        </pc:graphicFrameChg>
        <pc:cxnChg chg="add mod">
          <ac:chgData name="Ariel Wang" userId="d2c7e74e-eae9-4734-a288-19d4dc96c996" providerId="ADAL" clId="{6707D0DE-09F7-DB41-A5DA-F59333012196}" dt="2023-07-25T17:43:55.422" v="375" actId="1076"/>
          <ac:cxnSpMkLst>
            <pc:docMk/>
            <pc:sldMk cId="1472277841" sldId="2146846408"/>
            <ac:cxnSpMk id="13" creationId="{34C73A0B-BFB5-348F-BF8B-469CCC22122B}"/>
          </ac:cxnSpMkLst>
        </pc:cxnChg>
        <pc:cxnChg chg="add mod">
          <ac:chgData name="Ariel Wang" userId="d2c7e74e-eae9-4734-a288-19d4dc96c996" providerId="ADAL" clId="{6707D0DE-09F7-DB41-A5DA-F59333012196}" dt="2023-07-25T17:43:55.422" v="375" actId="1076"/>
          <ac:cxnSpMkLst>
            <pc:docMk/>
            <pc:sldMk cId="1472277841" sldId="2146846408"/>
            <ac:cxnSpMk id="15" creationId="{1B41B782-518C-587F-96EC-6F9C00E62882}"/>
          </ac:cxnSpMkLst>
        </pc:cxnChg>
        <pc:cxnChg chg="add mod">
          <ac:chgData name="Ariel Wang" userId="d2c7e74e-eae9-4734-a288-19d4dc96c996" providerId="ADAL" clId="{6707D0DE-09F7-DB41-A5DA-F59333012196}" dt="2023-07-25T17:43:55.422" v="375" actId="1076"/>
          <ac:cxnSpMkLst>
            <pc:docMk/>
            <pc:sldMk cId="1472277841" sldId="2146846408"/>
            <ac:cxnSpMk id="17" creationId="{07BEA832-5C77-7292-901E-098AE5481475}"/>
          </ac:cxnSpMkLst>
        </pc:cxnChg>
      </pc:sldChg>
      <pc:sldChg chg="modSp mod">
        <pc:chgData name="Ariel Wang" userId="d2c7e74e-eae9-4734-a288-19d4dc96c996" providerId="ADAL" clId="{6707D0DE-09F7-DB41-A5DA-F59333012196}" dt="2023-07-27T19:04:59.046" v="2873" actId="255"/>
        <pc:sldMkLst>
          <pc:docMk/>
          <pc:sldMk cId="1983412115" sldId="2146846412"/>
        </pc:sldMkLst>
        <pc:spChg chg="mod">
          <ac:chgData name="Ariel Wang" userId="d2c7e74e-eae9-4734-a288-19d4dc96c996" providerId="ADAL" clId="{6707D0DE-09F7-DB41-A5DA-F59333012196}" dt="2023-07-27T19:04:59.046" v="2873" actId="255"/>
          <ac:spMkLst>
            <pc:docMk/>
            <pc:sldMk cId="1983412115" sldId="2146846412"/>
            <ac:spMk id="2" creationId="{90C96AA1-6C12-6623-0754-4E4DD20BEE5B}"/>
          </ac:spMkLst>
        </pc:spChg>
      </pc:sldChg>
      <pc:sldChg chg="addCm">
        <pc:chgData name="Ariel Wang" userId="d2c7e74e-eae9-4734-a288-19d4dc96c996" providerId="ADAL" clId="{6707D0DE-09F7-DB41-A5DA-F59333012196}" dt="2023-07-26T04:24:33.231" v="418"/>
        <pc:sldMkLst>
          <pc:docMk/>
          <pc:sldMk cId="501913928" sldId="2146846415"/>
        </pc:sldMkLst>
      </pc:sldChg>
      <pc:sldChg chg="modSp">
        <pc:chgData name="Ariel Wang" userId="d2c7e74e-eae9-4734-a288-19d4dc96c996" providerId="ADAL" clId="{6707D0DE-09F7-DB41-A5DA-F59333012196}" dt="2023-07-27T19:13:21.313" v="3053" actId="20577"/>
        <pc:sldMkLst>
          <pc:docMk/>
          <pc:sldMk cId="3091098860" sldId="2146846420"/>
        </pc:sldMkLst>
        <pc:spChg chg="mod">
          <ac:chgData name="Ariel Wang" userId="d2c7e74e-eae9-4734-a288-19d4dc96c996" providerId="ADAL" clId="{6707D0DE-09F7-DB41-A5DA-F59333012196}" dt="2023-07-27T19:13:21.313" v="3053" actId="20577"/>
          <ac:spMkLst>
            <pc:docMk/>
            <pc:sldMk cId="3091098860" sldId="2146846420"/>
            <ac:spMk id="10" creationId="{0493CA3C-A4A5-7D4C-211C-75EC0115E151}"/>
          </ac:spMkLst>
        </pc:spChg>
      </pc:sldChg>
      <pc:sldChg chg="modSp mod">
        <pc:chgData name="Ariel Wang" userId="d2c7e74e-eae9-4734-a288-19d4dc96c996" providerId="ADAL" clId="{6707D0DE-09F7-DB41-A5DA-F59333012196}" dt="2023-07-25T16:27:53.080" v="31" actId="27636"/>
        <pc:sldMkLst>
          <pc:docMk/>
          <pc:sldMk cId="1473364542" sldId="2146846421"/>
        </pc:sldMkLst>
        <pc:spChg chg="mod">
          <ac:chgData name="Ariel Wang" userId="d2c7e74e-eae9-4734-a288-19d4dc96c996" providerId="ADAL" clId="{6707D0DE-09F7-DB41-A5DA-F59333012196}" dt="2023-07-25T16:27:53.080" v="31" actId="27636"/>
          <ac:spMkLst>
            <pc:docMk/>
            <pc:sldMk cId="1473364542" sldId="2146846421"/>
            <ac:spMk id="9" creationId="{DCE765C9-F866-A10C-05BC-B0F5CF7D4FA9}"/>
          </ac:spMkLst>
        </pc:spChg>
      </pc:sldChg>
      <pc:sldChg chg="modSp mod">
        <pc:chgData name="Ariel Wang" userId="d2c7e74e-eae9-4734-a288-19d4dc96c996" providerId="ADAL" clId="{6707D0DE-09F7-DB41-A5DA-F59333012196}" dt="2023-07-25T16:27:53.061" v="30" actId="27636"/>
        <pc:sldMkLst>
          <pc:docMk/>
          <pc:sldMk cId="4234255154" sldId="2146846429"/>
        </pc:sldMkLst>
        <pc:spChg chg="mod">
          <ac:chgData name="Ariel Wang" userId="d2c7e74e-eae9-4734-a288-19d4dc96c996" providerId="ADAL" clId="{6707D0DE-09F7-DB41-A5DA-F59333012196}" dt="2023-07-25T16:27:53.061" v="30" actId="27636"/>
          <ac:spMkLst>
            <pc:docMk/>
            <pc:sldMk cId="4234255154" sldId="2146846429"/>
            <ac:spMk id="9" creationId="{DCE765C9-F866-A10C-05BC-B0F5CF7D4FA9}"/>
          </ac:spMkLst>
        </pc:spChg>
      </pc:sldChg>
    </pc:docChg>
  </pc:docChgLst>
</pc:chgInfo>
</file>

<file path=ppt/comments/modernComment_7FF646B1_1003DBE4.xml><?xml version="1.0" encoding="utf-8"?>
<p188:cmLst xmlns:a="http://schemas.openxmlformats.org/drawingml/2006/main" xmlns:r="http://schemas.openxmlformats.org/officeDocument/2006/relationships" xmlns:p188="http://schemas.microsoft.com/office/powerpoint/2018/8/main">
  <p188:cm id="{44C53A3A-E0C0-1F4F-B9A4-9366FD7C9398}" authorId="{9103F856-72F8-ECA0-810E-0BEC36EF5530}" created="2023-07-26T22:37:15.201">
    <ac:deMkLst xmlns:ac="http://schemas.microsoft.com/office/drawing/2013/main/command">
      <pc:docMk xmlns:pc="http://schemas.microsoft.com/office/powerpoint/2013/main/command"/>
      <pc:sldMk xmlns:pc="http://schemas.microsoft.com/office/powerpoint/2013/main/command" cId="268688356" sldId="2146846385"/>
      <ac:spMk id="4" creationId="{6E725962-AA6E-3764-10EC-09E349BF7BE0}"/>
    </ac:deMkLst>
    <p188:txBody>
      <a:bodyPr/>
      <a:lstStyle/>
      <a:p>
        <a:r>
          <a:rPr lang="en-US"/>
          <a:t>Need full name</a:t>
        </a:r>
      </a:p>
    </p188:txBody>
  </p188:cm>
</p188:cmLst>
</file>

<file path=ppt/comments/modernComment_7FF646BF_5A9266E0.xml><?xml version="1.0" encoding="utf-8"?>
<p188:cmLst xmlns:a="http://schemas.openxmlformats.org/drawingml/2006/main" xmlns:r="http://schemas.openxmlformats.org/officeDocument/2006/relationships" xmlns:p188="http://schemas.microsoft.com/office/powerpoint/2018/8/main">
  <p188:cm id="{3EEB045B-C771-7C44-AA60-1FA767096D60}" authorId="{9103F856-72F8-ECA0-810E-0BEC36EF5530}" status="resolved" created="2023-07-25T16:21:24.595" complete="100000">
    <pc:sldMkLst xmlns:pc="http://schemas.microsoft.com/office/powerpoint/2013/main/command">
      <pc:docMk/>
      <pc:sldMk cId="1519544032" sldId="2146846399"/>
    </pc:sldMkLst>
    <p188:txBody>
      <a:bodyPr/>
      <a:lstStyle/>
      <a:p>
        <a:r>
          <a:rPr lang="en-US"/>
          <a:t>I hided this slide since it can create more confusion than clarification</a:t>
        </a:r>
      </a:p>
    </p188:txBody>
  </p188:cm>
</p188:cmLst>
</file>

<file path=ppt/comments/modernComment_7FF646C8_7A85E3D2.xml><?xml version="1.0" encoding="utf-8"?>
<p188:cmLst xmlns:a="http://schemas.openxmlformats.org/drawingml/2006/main" xmlns:r="http://schemas.openxmlformats.org/officeDocument/2006/relationships" xmlns:p188="http://schemas.microsoft.com/office/powerpoint/2018/8/main">
  <p188:cm id="{D8C699E4-2FEF-4F98-85BF-90CCBF43F453}" authorId="{9103F856-72F8-ECA0-810E-0BEC36EF5530}" status="resolved" created="2023-07-25T16:23:15.895">
    <pc:sldMkLst xmlns:pc="http://schemas.microsoft.com/office/powerpoint/2013/main/command">
      <pc:docMk/>
      <pc:sldMk cId="1472277841" sldId="2146846408"/>
    </pc:sldMkLst>
    <p188:txBody>
      <a:bodyPr/>
      <a:lstStyle/>
      <a:p>
        <a:r>
          <a:rPr lang="en-US"/>
          <a:t>Too many words in this slide. Try think of a more concise and intuitive way to illustrate</a:t>
        </a:r>
      </a:p>
    </p188:txBody>
  </p188:cm>
  <p188:cm id="{AD03AE2F-92A2-48F1-9CC6-5A8740201A72}" authorId="{9103F856-72F8-ECA0-810E-0BEC36EF5530}" status="resolved" created="2023-07-25T16:25:18.388">
    <ac:txMkLst xmlns:ac="http://schemas.microsoft.com/office/drawing/2013/main/command">
      <pc:docMk xmlns:pc="http://schemas.microsoft.com/office/powerpoint/2013/main/command"/>
      <pc:sldMk xmlns:pc="http://schemas.microsoft.com/office/powerpoint/2013/main/command" cId="2055594962" sldId="2146846408"/>
      <ac:spMk id="9" creationId="{DCE765C9-F866-A10C-05BC-B0F5CF7D4FA9}"/>
      <ac:txMk cp="0" len="10">
        <ac:context len="16" hash="1039345431"/>
      </ac:txMk>
    </ac:txMkLst>
    <p188:pos x="3966104" y="593070"/>
    <p188:txBody>
      <a:bodyPr/>
      <a:lstStyle/>
      <a:p>
        <a:r>
          <a:rPr lang="en-US"/>
          <a:t>In this slide you are talking about the impact and scaling of your work, not the direct business outcome.</a:t>
        </a:r>
      </a:p>
    </p188:txBody>
  </p188:cm>
</p188:cmLst>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25F622D-0633-2946-9C88-B37C0F7E2B2E}" type="doc">
      <dgm:prSet loTypeId="urn:microsoft.com/office/officeart/2008/layout/VerticalCurvedList" loCatId="" qsTypeId="urn:microsoft.com/office/officeart/2005/8/quickstyle/simple3" qsCatId="simple" csTypeId="urn:microsoft.com/office/officeart/2005/8/colors/accent0_2" csCatId="mainScheme" phldr="1"/>
      <dgm:spPr/>
      <dgm:t>
        <a:bodyPr/>
        <a:lstStyle/>
        <a:p>
          <a:endParaRPr lang="en-US"/>
        </a:p>
      </dgm:t>
    </dgm:pt>
    <dgm:pt modelId="{E4CDEAA3-706C-2C48-810E-EAF06C7B2C95}">
      <dgm:prSet phldrT="[Text]"/>
      <dgm:spPr/>
      <dgm:t>
        <a:bodyPr/>
        <a:lstStyle/>
        <a:p>
          <a:r>
            <a:rPr lang="en-US"/>
            <a:t>G x E</a:t>
          </a:r>
        </a:p>
      </dgm:t>
    </dgm:pt>
    <dgm:pt modelId="{33A9CAEF-96F7-D744-AE80-AB569962CA0D}" type="parTrans" cxnId="{E2DE9E08-7BD2-F446-BAD6-623D009C519A}">
      <dgm:prSet/>
      <dgm:spPr/>
      <dgm:t>
        <a:bodyPr/>
        <a:lstStyle/>
        <a:p>
          <a:endParaRPr lang="en-US"/>
        </a:p>
      </dgm:t>
    </dgm:pt>
    <dgm:pt modelId="{B64876BC-FA84-EC43-847B-BDBB41D5C28D}" type="sibTrans" cxnId="{E2DE9E08-7BD2-F446-BAD6-623D009C519A}">
      <dgm:prSet/>
      <dgm:spPr/>
      <dgm:t>
        <a:bodyPr/>
        <a:lstStyle/>
        <a:p>
          <a:endParaRPr lang="en-US"/>
        </a:p>
      </dgm:t>
    </dgm:pt>
    <dgm:pt modelId="{60BD2FEC-AD50-D94E-999B-857FC6BC3C1B}">
      <dgm:prSet phldrT="[Text]"/>
      <dgm:spPr/>
      <dgm:t>
        <a:bodyPr/>
        <a:lstStyle/>
        <a:p>
          <a:r>
            <a:rPr lang="en-US"/>
            <a:t>Testing Footprint Optimization</a:t>
          </a:r>
        </a:p>
      </dgm:t>
    </dgm:pt>
    <dgm:pt modelId="{B6E5D24C-293D-C945-AFCD-1DA1E4711B8F}" type="sibTrans" cxnId="{58120B1E-9F24-054D-8B9C-365364BC1AA2}">
      <dgm:prSet/>
      <dgm:spPr/>
      <dgm:t>
        <a:bodyPr/>
        <a:lstStyle/>
        <a:p>
          <a:endParaRPr lang="en-US"/>
        </a:p>
      </dgm:t>
    </dgm:pt>
    <dgm:pt modelId="{DA4A034B-3A8D-154E-A0A4-F8E2993274C4}" type="parTrans" cxnId="{58120B1E-9F24-054D-8B9C-365364BC1AA2}">
      <dgm:prSet/>
      <dgm:spPr/>
      <dgm:t>
        <a:bodyPr/>
        <a:lstStyle/>
        <a:p>
          <a:endParaRPr lang="en-US"/>
        </a:p>
      </dgm:t>
    </dgm:pt>
    <dgm:pt modelId="{17296340-A781-8F4B-8FDA-C0E369CBB3DA}">
      <dgm:prSet/>
      <dgm:spPr/>
      <dgm:t>
        <a:bodyPr/>
        <a:lstStyle/>
        <a:p>
          <a:r>
            <a:rPr lang="en-US"/>
            <a:t>Alternative Testing Location</a:t>
          </a:r>
        </a:p>
      </dgm:t>
    </dgm:pt>
    <dgm:pt modelId="{C6F77118-9F52-A145-A47E-85C5109D3B65}" type="sibTrans" cxnId="{77FBD384-7F94-B844-8CA0-6D509368C53E}">
      <dgm:prSet/>
      <dgm:spPr/>
      <dgm:t>
        <a:bodyPr/>
        <a:lstStyle/>
        <a:p>
          <a:endParaRPr lang="en-US"/>
        </a:p>
      </dgm:t>
    </dgm:pt>
    <dgm:pt modelId="{CD7A59D7-CA01-5844-9187-2931EB445620}" type="parTrans" cxnId="{77FBD384-7F94-B844-8CA0-6D509368C53E}">
      <dgm:prSet/>
      <dgm:spPr/>
      <dgm:t>
        <a:bodyPr/>
        <a:lstStyle/>
        <a:p>
          <a:endParaRPr lang="en-US"/>
        </a:p>
      </dgm:t>
    </dgm:pt>
    <dgm:pt modelId="{06FD4AFC-29B0-BD43-B722-ACA0B30AB725}">
      <dgm:prSet/>
      <dgm:spPr/>
      <dgm:t>
        <a:bodyPr/>
        <a:lstStyle/>
        <a:p>
          <a:r>
            <a:rPr lang="en-US"/>
            <a:t>Market Expansion</a:t>
          </a:r>
        </a:p>
      </dgm:t>
    </dgm:pt>
    <dgm:pt modelId="{A12D669F-E041-B340-9F8D-C0252F3484B0}" type="sibTrans" cxnId="{7BC3C22B-B5AD-8A4E-B2D1-D2B2B651BC07}">
      <dgm:prSet/>
      <dgm:spPr/>
      <dgm:t>
        <a:bodyPr/>
        <a:lstStyle/>
        <a:p>
          <a:endParaRPr lang="en-US"/>
        </a:p>
      </dgm:t>
    </dgm:pt>
    <dgm:pt modelId="{0F949E61-3835-674D-82A7-6FD49DBA4428}" type="parTrans" cxnId="{7BC3C22B-B5AD-8A4E-B2D1-D2B2B651BC07}">
      <dgm:prSet/>
      <dgm:spPr/>
      <dgm:t>
        <a:bodyPr/>
        <a:lstStyle/>
        <a:p>
          <a:endParaRPr lang="en-US"/>
        </a:p>
      </dgm:t>
    </dgm:pt>
    <dgm:pt modelId="{2CA9BA45-1590-4657-9A0F-A23AF068AD85}">
      <dgm:prSet phldrT="[Text]"/>
      <dgm:spPr/>
      <dgm:t>
        <a:bodyPr/>
        <a:lstStyle/>
        <a:p>
          <a:r>
            <a:rPr lang="en-US"/>
            <a:t>understanding of germplasm response</a:t>
          </a:r>
        </a:p>
      </dgm:t>
    </dgm:pt>
    <dgm:pt modelId="{3F7E33E1-067B-4378-AFE4-543EC4CED9C4}" type="parTrans" cxnId="{D354ABA4-3105-4535-807D-E0D7EFB2E759}">
      <dgm:prSet/>
      <dgm:spPr/>
      <dgm:t>
        <a:bodyPr/>
        <a:lstStyle/>
        <a:p>
          <a:endParaRPr lang="en-US"/>
        </a:p>
      </dgm:t>
    </dgm:pt>
    <dgm:pt modelId="{3A711021-7FCD-4D94-922B-2032771E9658}" type="sibTrans" cxnId="{D354ABA4-3105-4535-807D-E0D7EFB2E759}">
      <dgm:prSet/>
      <dgm:spPr/>
      <dgm:t>
        <a:bodyPr/>
        <a:lstStyle/>
        <a:p>
          <a:endParaRPr lang="en-US"/>
        </a:p>
      </dgm:t>
    </dgm:pt>
    <dgm:pt modelId="{CE484FDB-B210-3844-BEDD-68D84C53F446}" type="pres">
      <dgm:prSet presAssocID="{225F622D-0633-2946-9C88-B37C0F7E2B2E}" presName="Name0" presStyleCnt="0">
        <dgm:presLayoutVars>
          <dgm:chMax val="7"/>
          <dgm:chPref val="7"/>
          <dgm:dir/>
        </dgm:presLayoutVars>
      </dgm:prSet>
      <dgm:spPr/>
    </dgm:pt>
    <dgm:pt modelId="{922C58E6-0393-664C-A4D3-7A9D41837671}" type="pres">
      <dgm:prSet presAssocID="{225F622D-0633-2946-9C88-B37C0F7E2B2E}" presName="Name1" presStyleCnt="0"/>
      <dgm:spPr/>
    </dgm:pt>
    <dgm:pt modelId="{81D1B54B-89AD-F84E-B66B-7C75F3215B8F}" type="pres">
      <dgm:prSet presAssocID="{225F622D-0633-2946-9C88-B37C0F7E2B2E}" presName="cycle" presStyleCnt="0"/>
      <dgm:spPr/>
    </dgm:pt>
    <dgm:pt modelId="{C40CCC3B-B9FB-2144-8C36-7245AAB52164}" type="pres">
      <dgm:prSet presAssocID="{225F622D-0633-2946-9C88-B37C0F7E2B2E}" presName="srcNode" presStyleLbl="node1" presStyleIdx="0" presStyleCnt="5"/>
      <dgm:spPr/>
    </dgm:pt>
    <dgm:pt modelId="{374D488C-F995-C04E-8254-6D1D769275AC}" type="pres">
      <dgm:prSet presAssocID="{225F622D-0633-2946-9C88-B37C0F7E2B2E}" presName="conn" presStyleLbl="parChTrans1D2" presStyleIdx="0" presStyleCnt="1"/>
      <dgm:spPr/>
    </dgm:pt>
    <dgm:pt modelId="{6E232705-14FD-374B-8300-48A3717C74F8}" type="pres">
      <dgm:prSet presAssocID="{225F622D-0633-2946-9C88-B37C0F7E2B2E}" presName="extraNode" presStyleLbl="node1" presStyleIdx="0" presStyleCnt="5"/>
      <dgm:spPr/>
    </dgm:pt>
    <dgm:pt modelId="{36C5CDE3-01E9-2A4B-AE17-000776F31514}" type="pres">
      <dgm:prSet presAssocID="{225F622D-0633-2946-9C88-B37C0F7E2B2E}" presName="dstNode" presStyleLbl="node1" presStyleIdx="0" presStyleCnt="5"/>
      <dgm:spPr/>
    </dgm:pt>
    <dgm:pt modelId="{9D90485D-E2FE-4C4B-9B8D-625C5D265FD7}" type="pres">
      <dgm:prSet presAssocID="{2CA9BA45-1590-4657-9A0F-A23AF068AD85}" presName="text_1" presStyleLbl="node1" presStyleIdx="0" presStyleCnt="5">
        <dgm:presLayoutVars>
          <dgm:bulletEnabled val="1"/>
        </dgm:presLayoutVars>
      </dgm:prSet>
      <dgm:spPr/>
    </dgm:pt>
    <dgm:pt modelId="{9568F6FD-4BE4-4FC1-A28E-A0B875890E6C}" type="pres">
      <dgm:prSet presAssocID="{2CA9BA45-1590-4657-9A0F-A23AF068AD85}" presName="accent_1" presStyleCnt="0"/>
      <dgm:spPr/>
    </dgm:pt>
    <dgm:pt modelId="{F7D87AC4-6BD4-4555-B634-2B6697D44C4A}" type="pres">
      <dgm:prSet presAssocID="{2CA9BA45-1590-4657-9A0F-A23AF068AD85}" presName="accentRepeatNode" presStyleLbl="solidFgAcc1" presStyleIdx="0" presStyleCnt="5" custScaleX="48477" custScaleY="50356"/>
      <dgm:spPr/>
    </dgm:pt>
    <dgm:pt modelId="{A91547C8-BEEF-4B50-997C-D666D4BF5A77}" type="pres">
      <dgm:prSet presAssocID="{E4CDEAA3-706C-2C48-810E-EAF06C7B2C95}" presName="text_2" presStyleLbl="node1" presStyleIdx="1" presStyleCnt="5">
        <dgm:presLayoutVars>
          <dgm:bulletEnabled val="1"/>
        </dgm:presLayoutVars>
      </dgm:prSet>
      <dgm:spPr/>
    </dgm:pt>
    <dgm:pt modelId="{DF5463D3-0512-4E7B-A1BD-6C45F6B2F702}" type="pres">
      <dgm:prSet presAssocID="{E4CDEAA3-706C-2C48-810E-EAF06C7B2C95}" presName="accent_2" presStyleCnt="0"/>
      <dgm:spPr/>
    </dgm:pt>
    <dgm:pt modelId="{5B4EE567-219F-AD4B-B9CA-CAD2F4F1E79E}" type="pres">
      <dgm:prSet presAssocID="{E4CDEAA3-706C-2C48-810E-EAF06C7B2C95}" presName="accentRepeatNode" presStyleLbl="solidFgAcc1" presStyleIdx="1" presStyleCnt="5" custScaleX="46797" custScaleY="46797"/>
      <dgm:spPr/>
    </dgm:pt>
    <dgm:pt modelId="{E1B0CC18-4735-4CA8-BDF5-F0547F729FAE}" type="pres">
      <dgm:prSet presAssocID="{60BD2FEC-AD50-D94E-999B-857FC6BC3C1B}" presName="text_3" presStyleLbl="node1" presStyleIdx="2" presStyleCnt="5">
        <dgm:presLayoutVars>
          <dgm:bulletEnabled val="1"/>
        </dgm:presLayoutVars>
      </dgm:prSet>
      <dgm:spPr/>
    </dgm:pt>
    <dgm:pt modelId="{C906F837-0FB5-4348-B1CE-E3012780F970}" type="pres">
      <dgm:prSet presAssocID="{60BD2FEC-AD50-D94E-999B-857FC6BC3C1B}" presName="accent_3" presStyleCnt="0"/>
      <dgm:spPr/>
    </dgm:pt>
    <dgm:pt modelId="{FD012FB0-3EE1-7C47-BA84-D2896AC1E983}" type="pres">
      <dgm:prSet presAssocID="{60BD2FEC-AD50-D94E-999B-857FC6BC3C1B}" presName="accentRepeatNode" presStyleLbl="solidFgAcc1" presStyleIdx="2" presStyleCnt="5" custScaleX="46797" custScaleY="46797"/>
      <dgm:spPr/>
    </dgm:pt>
    <dgm:pt modelId="{0B83F0EF-0FB0-4FDD-98F5-4DD8A89E3762}" type="pres">
      <dgm:prSet presAssocID="{17296340-A781-8F4B-8FDA-C0E369CBB3DA}" presName="text_4" presStyleLbl="node1" presStyleIdx="3" presStyleCnt="5">
        <dgm:presLayoutVars>
          <dgm:bulletEnabled val="1"/>
        </dgm:presLayoutVars>
      </dgm:prSet>
      <dgm:spPr/>
    </dgm:pt>
    <dgm:pt modelId="{B37AF8D3-39D2-4399-973D-57143A7448BC}" type="pres">
      <dgm:prSet presAssocID="{17296340-A781-8F4B-8FDA-C0E369CBB3DA}" presName="accent_4" presStyleCnt="0"/>
      <dgm:spPr/>
    </dgm:pt>
    <dgm:pt modelId="{F3083065-5670-EB4C-826E-55C08C1442D9}" type="pres">
      <dgm:prSet presAssocID="{17296340-A781-8F4B-8FDA-C0E369CBB3DA}" presName="accentRepeatNode" presStyleLbl="solidFgAcc1" presStyleIdx="3" presStyleCnt="5" custScaleX="46797" custScaleY="46797"/>
      <dgm:spPr/>
    </dgm:pt>
    <dgm:pt modelId="{0785A900-8DE7-4397-8935-E374A98DF345}" type="pres">
      <dgm:prSet presAssocID="{06FD4AFC-29B0-BD43-B722-ACA0B30AB725}" presName="text_5" presStyleLbl="node1" presStyleIdx="4" presStyleCnt="5">
        <dgm:presLayoutVars>
          <dgm:bulletEnabled val="1"/>
        </dgm:presLayoutVars>
      </dgm:prSet>
      <dgm:spPr/>
    </dgm:pt>
    <dgm:pt modelId="{E5F58FA1-9861-4C63-89B2-E2C6F67A5DA2}" type="pres">
      <dgm:prSet presAssocID="{06FD4AFC-29B0-BD43-B722-ACA0B30AB725}" presName="accent_5" presStyleCnt="0"/>
      <dgm:spPr/>
    </dgm:pt>
    <dgm:pt modelId="{3994974B-2FA6-2443-8656-F0D33C816422}" type="pres">
      <dgm:prSet presAssocID="{06FD4AFC-29B0-BD43-B722-ACA0B30AB725}" presName="accentRepeatNode" presStyleLbl="solidFgAcc1" presStyleIdx="4" presStyleCnt="5" custScaleX="46797" custScaleY="46797"/>
      <dgm:spPr/>
    </dgm:pt>
  </dgm:ptLst>
  <dgm:cxnLst>
    <dgm:cxn modelId="{E2DE9E08-7BD2-F446-BAD6-623D009C519A}" srcId="{225F622D-0633-2946-9C88-B37C0F7E2B2E}" destId="{E4CDEAA3-706C-2C48-810E-EAF06C7B2C95}" srcOrd="1" destOrd="0" parTransId="{33A9CAEF-96F7-D744-AE80-AB569962CA0D}" sibTransId="{B64876BC-FA84-EC43-847B-BDBB41D5C28D}"/>
    <dgm:cxn modelId="{AF620312-BA3C-4770-AAB2-777F4597E023}" type="presOf" srcId="{17296340-A781-8F4B-8FDA-C0E369CBB3DA}" destId="{0B83F0EF-0FB0-4FDD-98F5-4DD8A89E3762}" srcOrd="0" destOrd="0" presId="urn:microsoft.com/office/officeart/2008/layout/VerticalCurvedList"/>
    <dgm:cxn modelId="{58120B1E-9F24-054D-8B9C-365364BC1AA2}" srcId="{225F622D-0633-2946-9C88-B37C0F7E2B2E}" destId="{60BD2FEC-AD50-D94E-999B-857FC6BC3C1B}" srcOrd="2" destOrd="0" parTransId="{DA4A034B-3A8D-154E-A0A4-F8E2993274C4}" sibTransId="{B6E5D24C-293D-C945-AFCD-1DA1E4711B8F}"/>
    <dgm:cxn modelId="{0D481D1F-A2B1-4BC3-96D7-AE501EA12FDA}" type="presOf" srcId="{2CA9BA45-1590-4657-9A0F-A23AF068AD85}" destId="{9D90485D-E2FE-4C4B-9B8D-625C5D265FD7}" srcOrd="0" destOrd="0" presId="urn:microsoft.com/office/officeart/2008/layout/VerticalCurvedList"/>
    <dgm:cxn modelId="{7BC3C22B-B5AD-8A4E-B2D1-D2B2B651BC07}" srcId="{225F622D-0633-2946-9C88-B37C0F7E2B2E}" destId="{06FD4AFC-29B0-BD43-B722-ACA0B30AB725}" srcOrd="4" destOrd="0" parTransId="{0F949E61-3835-674D-82A7-6FD49DBA4428}" sibTransId="{A12D669F-E041-B340-9F8D-C0252F3484B0}"/>
    <dgm:cxn modelId="{EEBFB068-F434-49C3-B0E2-119ED5EDF395}" type="presOf" srcId="{06FD4AFC-29B0-BD43-B722-ACA0B30AB725}" destId="{0785A900-8DE7-4397-8935-E374A98DF345}" srcOrd="0" destOrd="0" presId="urn:microsoft.com/office/officeart/2008/layout/VerticalCurvedList"/>
    <dgm:cxn modelId="{060A676C-1CC8-4B75-9746-595ED176417E}" type="presOf" srcId="{E4CDEAA3-706C-2C48-810E-EAF06C7B2C95}" destId="{A91547C8-BEEF-4B50-997C-D666D4BF5A77}" srcOrd="0" destOrd="0" presId="urn:microsoft.com/office/officeart/2008/layout/VerticalCurvedList"/>
    <dgm:cxn modelId="{0721AB54-1965-45DA-B984-4905407DF6FE}" type="presOf" srcId="{3A711021-7FCD-4D94-922B-2032771E9658}" destId="{374D488C-F995-C04E-8254-6D1D769275AC}" srcOrd="0" destOrd="0" presId="urn:microsoft.com/office/officeart/2008/layout/VerticalCurvedList"/>
    <dgm:cxn modelId="{77FBD384-7F94-B844-8CA0-6D509368C53E}" srcId="{225F622D-0633-2946-9C88-B37C0F7E2B2E}" destId="{17296340-A781-8F4B-8FDA-C0E369CBB3DA}" srcOrd="3" destOrd="0" parTransId="{CD7A59D7-CA01-5844-9187-2931EB445620}" sibTransId="{C6F77118-9F52-A145-A47E-85C5109D3B65}"/>
    <dgm:cxn modelId="{410FDBA0-0C5E-4D5F-9A47-D38D21895BBB}" type="presOf" srcId="{60BD2FEC-AD50-D94E-999B-857FC6BC3C1B}" destId="{E1B0CC18-4735-4CA8-BDF5-F0547F729FAE}" srcOrd="0" destOrd="0" presId="urn:microsoft.com/office/officeart/2008/layout/VerticalCurvedList"/>
    <dgm:cxn modelId="{D354ABA4-3105-4535-807D-E0D7EFB2E759}" srcId="{225F622D-0633-2946-9C88-B37C0F7E2B2E}" destId="{2CA9BA45-1590-4657-9A0F-A23AF068AD85}" srcOrd="0" destOrd="0" parTransId="{3F7E33E1-067B-4378-AFE4-543EC4CED9C4}" sibTransId="{3A711021-7FCD-4D94-922B-2032771E9658}"/>
    <dgm:cxn modelId="{28D70AE4-93E7-0E41-9212-6224878D0D79}" type="presOf" srcId="{225F622D-0633-2946-9C88-B37C0F7E2B2E}" destId="{CE484FDB-B210-3844-BEDD-68D84C53F446}" srcOrd="0" destOrd="0" presId="urn:microsoft.com/office/officeart/2008/layout/VerticalCurvedList"/>
    <dgm:cxn modelId="{ECAA4AD2-AEC8-DB44-A7B0-8ADA5CB1E7B2}" type="presParOf" srcId="{CE484FDB-B210-3844-BEDD-68D84C53F446}" destId="{922C58E6-0393-664C-A4D3-7A9D41837671}" srcOrd="0" destOrd="0" presId="urn:microsoft.com/office/officeart/2008/layout/VerticalCurvedList"/>
    <dgm:cxn modelId="{DF90AF6D-D7A5-8E46-B763-461E0EC054A4}" type="presParOf" srcId="{922C58E6-0393-664C-A4D3-7A9D41837671}" destId="{81D1B54B-89AD-F84E-B66B-7C75F3215B8F}" srcOrd="0" destOrd="0" presId="urn:microsoft.com/office/officeart/2008/layout/VerticalCurvedList"/>
    <dgm:cxn modelId="{752DFCE1-A301-794B-9A18-E36A499DA6BF}" type="presParOf" srcId="{81D1B54B-89AD-F84E-B66B-7C75F3215B8F}" destId="{C40CCC3B-B9FB-2144-8C36-7245AAB52164}" srcOrd="0" destOrd="0" presId="urn:microsoft.com/office/officeart/2008/layout/VerticalCurvedList"/>
    <dgm:cxn modelId="{1482E2E9-893F-C84B-8BA4-43D43E6092A1}" type="presParOf" srcId="{81D1B54B-89AD-F84E-B66B-7C75F3215B8F}" destId="{374D488C-F995-C04E-8254-6D1D769275AC}" srcOrd="1" destOrd="0" presId="urn:microsoft.com/office/officeart/2008/layout/VerticalCurvedList"/>
    <dgm:cxn modelId="{5F3154D3-2059-0945-B85B-31A4F663AFCC}" type="presParOf" srcId="{81D1B54B-89AD-F84E-B66B-7C75F3215B8F}" destId="{6E232705-14FD-374B-8300-48A3717C74F8}" srcOrd="2" destOrd="0" presId="urn:microsoft.com/office/officeart/2008/layout/VerticalCurvedList"/>
    <dgm:cxn modelId="{BE005AEF-9621-4A40-8C92-9B01F7DCAF1F}" type="presParOf" srcId="{81D1B54B-89AD-F84E-B66B-7C75F3215B8F}" destId="{36C5CDE3-01E9-2A4B-AE17-000776F31514}" srcOrd="3" destOrd="0" presId="urn:microsoft.com/office/officeart/2008/layout/VerticalCurvedList"/>
    <dgm:cxn modelId="{234A0878-A085-4AB8-B141-9374C449935E}" type="presParOf" srcId="{922C58E6-0393-664C-A4D3-7A9D41837671}" destId="{9D90485D-E2FE-4C4B-9B8D-625C5D265FD7}" srcOrd="1" destOrd="0" presId="urn:microsoft.com/office/officeart/2008/layout/VerticalCurvedList"/>
    <dgm:cxn modelId="{EBB21F66-9E80-4C9D-BA2B-EECAD9C162A7}" type="presParOf" srcId="{922C58E6-0393-664C-A4D3-7A9D41837671}" destId="{9568F6FD-4BE4-4FC1-A28E-A0B875890E6C}" srcOrd="2" destOrd="0" presId="urn:microsoft.com/office/officeart/2008/layout/VerticalCurvedList"/>
    <dgm:cxn modelId="{F904A792-FED7-4DAA-9985-BFAB2F24CDC4}" type="presParOf" srcId="{9568F6FD-4BE4-4FC1-A28E-A0B875890E6C}" destId="{F7D87AC4-6BD4-4555-B634-2B6697D44C4A}" srcOrd="0" destOrd="0" presId="urn:microsoft.com/office/officeart/2008/layout/VerticalCurvedList"/>
    <dgm:cxn modelId="{7B248869-F6C7-4C43-823B-9AA39F5F8C27}" type="presParOf" srcId="{922C58E6-0393-664C-A4D3-7A9D41837671}" destId="{A91547C8-BEEF-4B50-997C-D666D4BF5A77}" srcOrd="3" destOrd="0" presId="urn:microsoft.com/office/officeart/2008/layout/VerticalCurvedList"/>
    <dgm:cxn modelId="{0033EF5F-A9FC-4996-A794-2F7E3083A8C9}" type="presParOf" srcId="{922C58E6-0393-664C-A4D3-7A9D41837671}" destId="{DF5463D3-0512-4E7B-A1BD-6C45F6B2F702}" srcOrd="4" destOrd="0" presId="urn:microsoft.com/office/officeart/2008/layout/VerticalCurvedList"/>
    <dgm:cxn modelId="{3EE5433C-A945-4A91-9B7E-D26F1F459B8B}" type="presParOf" srcId="{DF5463D3-0512-4E7B-A1BD-6C45F6B2F702}" destId="{5B4EE567-219F-AD4B-B9CA-CAD2F4F1E79E}" srcOrd="0" destOrd="0" presId="urn:microsoft.com/office/officeart/2008/layout/VerticalCurvedList"/>
    <dgm:cxn modelId="{515B4073-4097-45F5-A733-D614DC3FA358}" type="presParOf" srcId="{922C58E6-0393-664C-A4D3-7A9D41837671}" destId="{E1B0CC18-4735-4CA8-BDF5-F0547F729FAE}" srcOrd="5" destOrd="0" presId="urn:microsoft.com/office/officeart/2008/layout/VerticalCurvedList"/>
    <dgm:cxn modelId="{31D9DD10-CF27-4968-AEAD-05646C5779AC}" type="presParOf" srcId="{922C58E6-0393-664C-A4D3-7A9D41837671}" destId="{C906F837-0FB5-4348-B1CE-E3012780F970}" srcOrd="6" destOrd="0" presId="urn:microsoft.com/office/officeart/2008/layout/VerticalCurvedList"/>
    <dgm:cxn modelId="{58E3DCB9-F86A-4F26-91D7-2E110774DFCA}" type="presParOf" srcId="{C906F837-0FB5-4348-B1CE-E3012780F970}" destId="{FD012FB0-3EE1-7C47-BA84-D2896AC1E983}" srcOrd="0" destOrd="0" presId="urn:microsoft.com/office/officeart/2008/layout/VerticalCurvedList"/>
    <dgm:cxn modelId="{3E4C80E1-495D-4AA1-8D36-186843438377}" type="presParOf" srcId="{922C58E6-0393-664C-A4D3-7A9D41837671}" destId="{0B83F0EF-0FB0-4FDD-98F5-4DD8A89E3762}" srcOrd="7" destOrd="0" presId="urn:microsoft.com/office/officeart/2008/layout/VerticalCurvedList"/>
    <dgm:cxn modelId="{6182108B-D9B7-4467-8449-C10614F671E0}" type="presParOf" srcId="{922C58E6-0393-664C-A4D3-7A9D41837671}" destId="{B37AF8D3-39D2-4399-973D-57143A7448BC}" srcOrd="8" destOrd="0" presId="urn:microsoft.com/office/officeart/2008/layout/VerticalCurvedList"/>
    <dgm:cxn modelId="{3FFEC6CB-DAA8-47B8-A161-3C40DF6189FD}" type="presParOf" srcId="{B37AF8D3-39D2-4399-973D-57143A7448BC}" destId="{F3083065-5670-EB4C-826E-55C08C1442D9}" srcOrd="0" destOrd="0" presId="urn:microsoft.com/office/officeart/2008/layout/VerticalCurvedList"/>
    <dgm:cxn modelId="{3BD92DEA-66E4-43C6-8381-86A12528347E}" type="presParOf" srcId="{922C58E6-0393-664C-A4D3-7A9D41837671}" destId="{0785A900-8DE7-4397-8935-E374A98DF345}" srcOrd="9" destOrd="0" presId="urn:microsoft.com/office/officeart/2008/layout/VerticalCurvedList"/>
    <dgm:cxn modelId="{FE42F37D-D3EF-470C-9499-01AC72E9A615}" type="presParOf" srcId="{922C58E6-0393-664C-A4D3-7A9D41837671}" destId="{E5F58FA1-9861-4C63-89B2-E2C6F67A5DA2}" srcOrd="10" destOrd="0" presId="urn:microsoft.com/office/officeart/2008/layout/VerticalCurvedList"/>
    <dgm:cxn modelId="{D0155D1E-2CD6-452A-B015-F5CD27BC959B}" type="presParOf" srcId="{E5F58FA1-9861-4C63-89B2-E2C6F67A5DA2}" destId="{3994974B-2FA6-2443-8656-F0D33C816422}"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AB20BAC-50AB-4E9A-A81F-AFC34B6BBC5A}" type="doc">
      <dgm:prSet loTypeId="urn:microsoft.com/office/officeart/2005/8/layout/radial6" loCatId="cycle" qsTypeId="urn:microsoft.com/office/officeart/2005/8/quickstyle/simple3" qsCatId="simple" csTypeId="urn:microsoft.com/office/officeart/2005/8/colors/accent0_2" csCatId="mainScheme" phldr="1"/>
      <dgm:spPr/>
      <dgm:t>
        <a:bodyPr/>
        <a:lstStyle/>
        <a:p>
          <a:endParaRPr lang="en-US"/>
        </a:p>
      </dgm:t>
    </dgm:pt>
    <dgm:pt modelId="{0B1C53B0-2059-4301-A95E-3984C5A24B8C}">
      <dgm:prSet phldrT="[Text]"/>
      <dgm:spPr/>
      <dgm:t>
        <a:bodyPr/>
        <a:lstStyle/>
        <a:p>
          <a:r>
            <a:rPr lang="en-US">
              <a:solidFill>
                <a:srgbClr val="0070C0"/>
              </a:solidFill>
            </a:rPr>
            <a:t>Framework to develop ARD</a:t>
          </a:r>
        </a:p>
      </dgm:t>
    </dgm:pt>
    <dgm:pt modelId="{713A30DF-F3E3-4070-A01B-9C1D789EC223}" type="parTrans" cxnId="{259AB628-8557-4099-9B7B-409699977678}">
      <dgm:prSet/>
      <dgm:spPr/>
      <dgm:t>
        <a:bodyPr/>
        <a:lstStyle/>
        <a:p>
          <a:endParaRPr lang="en-US"/>
        </a:p>
      </dgm:t>
    </dgm:pt>
    <dgm:pt modelId="{8E5A61E7-2145-4FA0-AC51-0959ADE74822}" type="sibTrans" cxnId="{259AB628-8557-4099-9B7B-409699977678}">
      <dgm:prSet/>
      <dgm:spPr/>
      <dgm:t>
        <a:bodyPr/>
        <a:lstStyle/>
        <a:p>
          <a:endParaRPr lang="en-US"/>
        </a:p>
      </dgm:t>
    </dgm:pt>
    <dgm:pt modelId="{D49502F5-606D-47DB-9E6A-427C8CA307B3}">
      <dgm:prSet phldrT="[Text]"/>
      <dgm:spPr/>
      <dgm:t>
        <a:bodyPr/>
        <a:lstStyle/>
        <a:p>
          <a:r>
            <a:rPr lang="en-US" b="1"/>
            <a:t>Different Regions</a:t>
          </a:r>
        </a:p>
      </dgm:t>
    </dgm:pt>
    <dgm:pt modelId="{107C0B0A-612A-4282-AF04-AF5D9C4FAFE0}" type="parTrans" cxnId="{FC769F1A-363C-4CA5-B476-035A0065FB5C}">
      <dgm:prSet/>
      <dgm:spPr/>
      <dgm:t>
        <a:bodyPr/>
        <a:lstStyle/>
        <a:p>
          <a:endParaRPr lang="en-US"/>
        </a:p>
      </dgm:t>
    </dgm:pt>
    <dgm:pt modelId="{CF1269FA-8F1B-423B-B86C-3EB615A60958}" type="sibTrans" cxnId="{FC769F1A-363C-4CA5-B476-035A0065FB5C}">
      <dgm:prSet/>
      <dgm:spPr/>
      <dgm:t>
        <a:bodyPr/>
        <a:lstStyle/>
        <a:p>
          <a:endParaRPr lang="en-US"/>
        </a:p>
      </dgm:t>
    </dgm:pt>
    <dgm:pt modelId="{AEC05586-746F-4A5B-B615-D38248B41660}">
      <dgm:prSet phldrT="[Text]"/>
      <dgm:spPr/>
      <dgm:t>
        <a:bodyPr/>
        <a:lstStyle/>
        <a:p>
          <a:r>
            <a:rPr lang="en-US" b="1"/>
            <a:t>Different Resolution </a:t>
          </a:r>
        </a:p>
        <a:p>
          <a:r>
            <a:rPr lang="en-US" b="1"/>
            <a:t>(Low to High)</a:t>
          </a:r>
        </a:p>
      </dgm:t>
    </dgm:pt>
    <dgm:pt modelId="{308A5C2A-D952-47C5-9E40-0EC335500E31}" type="parTrans" cxnId="{F0D8CEAE-4287-4218-92F5-8C513EF70563}">
      <dgm:prSet/>
      <dgm:spPr/>
      <dgm:t>
        <a:bodyPr/>
        <a:lstStyle/>
        <a:p>
          <a:endParaRPr lang="en-US"/>
        </a:p>
      </dgm:t>
    </dgm:pt>
    <dgm:pt modelId="{B61A0D93-9590-4A1C-8FB5-17BA9EB36D4B}" type="sibTrans" cxnId="{F0D8CEAE-4287-4218-92F5-8C513EF70563}">
      <dgm:prSet/>
      <dgm:spPr/>
      <dgm:t>
        <a:bodyPr/>
        <a:lstStyle/>
        <a:p>
          <a:endParaRPr lang="en-US"/>
        </a:p>
      </dgm:t>
    </dgm:pt>
    <dgm:pt modelId="{6EA5F817-F2D1-40F2-86A5-24ED238781E4}">
      <dgm:prSet phldrT="[Text]"/>
      <dgm:spPr/>
      <dgm:t>
        <a:bodyPr/>
        <a:lstStyle/>
        <a:p>
          <a:r>
            <a:rPr lang="en-US" b="1"/>
            <a:t>Different Variables</a:t>
          </a:r>
        </a:p>
      </dgm:t>
    </dgm:pt>
    <dgm:pt modelId="{ED67650B-5E99-4F32-BE6C-92AE7A5C2A9B}" type="parTrans" cxnId="{0EC04346-D3A3-45DE-AC20-BB43DD958E49}">
      <dgm:prSet/>
      <dgm:spPr/>
      <dgm:t>
        <a:bodyPr/>
        <a:lstStyle/>
        <a:p>
          <a:endParaRPr lang="en-US"/>
        </a:p>
      </dgm:t>
    </dgm:pt>
    <dgm:pt modelId="{DA7C03E3-B87C-42C4-AFFB-C34244716E4D}" type="sibTrans" cxnId="{0EC04346-D3A3-45DE-AC20-BB43DD958E49}">
      <dgm:prSet/>
      <dgm:spPr/>
      <dgm:t>
        <a:bodyPr/>
        <a:lstStyle/>
        <a:p>
          <a:endParaRPr lang="en-US"/>
        </a:p>
      </dgm:t>
    </dgm:pt>
    <dgm:pt modelId="{AC6B1590-E593-4F0A-88A3-61E00CDB11CD}" type="pres">
      <dgm:prSet presAssocID="{4AB20BAC-50AB-4E9A-A81F-AFC34B6BBC5A}" presName="Name0" presStyleCnt="0">
        <dgm:presLayoutVars>
          <dgm:chMax val="1"/>
          <dgm:dir/>
          <dgm:animLvl val="ctr"/>
          <dgm:resizeHandles val="exact"/>
        </dgm:presLayoutVars>
      </dgm:prSet>
      <dgm:spPr/>
    </dgm:pt>
    <dgm:pt modelId="{FD698645-F894-41AA-B351-063E8ED81A27}" type="pres">
      <dgm:prSet presAssocID="{0B1C53B0-2059-4301-A95E-3984C5A24B8C}" presName="centerShape" presStyleLbl="node0" presStyleIdx="0" presStyleCnt="1"/>
      <dgm:spPr/>
    </dgm:pt>
    <dgm:pt modelId="{9110FEF6-01FE-4FF2-AEF5-AC31D26583C2}" type="pres">
      <dgm:prSet presAssocID="{D49502F5-606D-47DB-9E6A-427C8CA307B3}" presName="node" presStyleLbl="node1" presStyleIdx="0" presStyleCnt="3">
        <dgm:presLayoutVars>
          <dgm:bulletEnabled val="1"/>
        </dgm:presLayoutVars>
      </dgm:prSet>
      <dgm:spPr/>
    </dgm:pt>
    <dgm:pt modelId="{99C2B632-6EFD-4871-BC26-8C39056608C5}" type="pres">
      <dgm:prSet presAssocID="{D49502F5-606D-47DB-9E6A-427C8CA307B3}" presName="dummy" presStyleCnt="0"/>
      <dgm:spPr/>
    </dgm:pt>
    <dgm:pt modelId="{D5CA9756-C80F-457A-AE90-86D6B49E155C}" type="pres">
      <dgm:prSet presAssocID="{CF1269FA-8F1B-423B-B86C-3EB615A60958}" presName="sibTrans" presStyleLbl="sibTrans2D1" presStyleIdx="0" presStyleCnt="3"/>
      <dgm:spPr/>
    </dgm:pt>
    <dgm:pt modelId="{4370FAD4-A0DA-49EC-AE4A-89BCB1DB6970}" type="pres">
      <dgm:prSet presAssocID="{AEC05586-746F-4A5B-B615-D38248B41660}" presName="node" presStyleLbl="node1" presStyleIdx="1" presStyleCnt="3">
        <dgm:presLayoutVars>
          <dgm:bulletEnabled val="1"/>
        </dgm:presLayoutVars>
      </dgm:prSet>
      <dgm:spPr/>
    </dgm:pt>
    <dgm:pt modelId="{15698508-405C-4AAE-9E2F-35207EEA1202}" type="pres">
      <dgm:prSet presAssocID="{AEC05586-746F-4A5B-B615-D38248B41660}" presName="dummy" presStyleCnt="0"/>
      <dgm:spPr/>
    </dgm:pt>
    <dgm:pt modelId="{593C6C92-DB1C-447B-A454-B6F4C73278F4}" type="pres">
      <dgm:prSet presAssocID="{B61A0D93-9590-4A1C-8FB5-17BA9EB36D4B}" presName="sibTrans" presStyleLbl="sibTrans2D1" presStyleIdx="1" presStyleCnt="3"/>
      <dgm:spPr/>
    </dgm:pt>
    <dgm:pt modelId="{52E43205-0459-49BB-91E0-EE30148258C4}" type="pres">
      <dgm:prSet presAssocID="{6EA5F817-F2D1-40F2-86A5-24ED238781E4}" presName="node" presStyleLbl="node1" presStyleIdx="2" presStyleCnt="3">
        <dgm:presLayoutVars>
          <dgm:bulletEnabled val="1"/>
        </dgm:presLayoutVars>
      </dgm:prSet>
      <dgm:spPr/>
    </dgm:pt>
    <dgm:pt modelId="{59910D7B-C8E5-4895-9248-082E7B774FBE}" type="pres">
      <dgm:prSet presAssocID="{6EA5F817-F2D1-40F2-86A5-24ED238781E4}" presName="dummy" presStyleCnt="0"/>
      <dgm:spPr/>
    </dgm:pt>
    <dgm:pt modelId="{66C28DBB-51A5-4C83-8020-DEEC1A4FFD3D}" type="pres">
      <dgm:prSet presAssocID="{DA7C03E3-B87C-42C4-AFFB-C34244716E4D}" presName="sibTrans" presStyleLbl="sibTrans2D1" presStyleIdx="2" presStyleCnt="3"/>
      <dgm:spPr/>
    </dgm:pt>
  </dgm:ptLst>
  <dgm:cxnLst>
    <dgm:cxn modelId="{A7CFC304-1517-467C-BA4E-B20F26072639}" type="presOf" srcId="{6EA5F817-F2D1-40F2-86A5-24ED238781E4}" destId="{52E43205-0459-49BB-91E0-EE30148258C4}" srcOrd="0" destOrd="0" presId="urn:microsoft.com/office/officeart/2005/8/layout/radial6"/>
    <dgm:cxn modelId="{FC769F1A-363C-4CA5-B476-035A0065FB5C}" srcId="{0B1C53B0-2059-4301-A95E-3984C5A24B8C}" destId="{D49502F5-606D-47DB-9E6A-427C8CA307B3}" srcOrd="0" destOrd="0" parTransId="{107C0B0A-612A-4282-AF04-AF5D9C4FAFE0}" sibTransId="{CF1269FA-8F1B-423B-B86C-3EB615A60958}"/>
    <dgm:cxn modelId="{0877F71C-935B-4C52-8BFB-E8A1EB47C139}" type="presOf" srcId="{D49502F5-606D-47DB-9E6A-427C8CA307B3}" destId="{9110FEF6-01FE-4FF2-AEF5-AC31D26583C2}" srcOrd="0" destOrd="0" presId="urn:microsoft.com/office/officeart/2005/8/layout/radial6"/>
    <dgm:cxn modelId="{259AB628-8557-4099-9B7B-409699977678}" srcId="{4AB20BAC-50AB-4E9A-A81F-AFC34B6BBC5A}" destId="{0B1C53B0-2059-4301-A95E-3984C5A24B8C}" srcOrd="0" destOrd="0" parTransId="{713A30DF-F3E3-4070-A01B-9C1D789EC223}" sibTransId="{8E5A61E7-2145-4FA0-AC51-0959ADE74822}"/>
    <dgm:cxn modelId="{96E3EB5F-0125-4403-9D79-278A6DF728BD}" type="presOf" srcId="{AEC05586-746F-4A5B-B615-D38248B41660}" destId="{4370FAD4-A0DA-49EC-AE4A-89BCB1DB6970}" srcOrd="0" destOrd="0" presId="urn:microsoft.com/office/officeart/2005/8/layout/radial6"/>
    <dgm:cxn modelId="{0EC04346-D3A3-45DE-AC20-BB43DD958E49}" srcId="{0B1C53B0-2059-4301-A95E-3984C5A24B8C}" destId="{6EA5F817-F2D1-40F2-86A5-24ED238781E4}" srcOrd="2" destOrd="0" parTransId="{ED67650B-5E99-4F32-BE6C-92AE7A5C2A9B}" sibTransId="{DA7C03E3-B87C-42C4-AFFB-C34244716E4D}"/>
    <dgm:cxn modelId="{FF6CA267-DA54-4E38-93BA-3893FFD3AFB2}" type="presOf" srcId="{0B1C53B0-2059-4301-A95E-3984C5A24B8C}" destId="{FD698645-F894-41AA-B351-063E8ED81A27}" srcOrd="0" destOrd="0" presId="urn:microsoft.com/office/officeart/2005/8/layout/radial6"/>
    <dgm:cxn modelId="{EB34DC8B-825C-4E31-BC27-352D858B9DFC}" type="presOf" srcId="{CF1269FA-8F1B-423B-B86C-3EB615A60958}" destId="{D5CA9756-C80F-457A-AE90-86D6B49E155C}" srcOrd="0" destOrd="0" presId="urn:microsoft.com/office/officeart/2005/8/layout/radial6"/>
    <dgm:cxn modelId="{E45D6390-E846-49EB-8E26-ADB5ED6290F4}" type="presOf" srcId="{B61A0D93-9590-4A1C-8FB5-17BA9EB36D4B}" destId="{593C6C92-DB1C-447B-A454-B6F4C73278F4}" srcOrd="0" destOrd="0" presId="urn:microsoft.com/office/officeart/2005/8/layout/radial6"/>
    <dgm:cxn modelId="{F0D8CEAE-4287-4218-92F5-8C513EF70563}" srcId="{0B1C53B0-2059-4301-A95E-3984C5A24B8C}" destId="{AEC05586-746F-4A5B-B615-D38248B41660}" srcOrd="1" destOrd="0" parTransId="{308A5C2A-D952-47C5-9E40-0EC335500E31}" sibTransId="{B61A0D93-9590-4A1C-8FB5-17BA9EB36D4B}"/>
    <dgm:cxn modelId="{0AA887DD-45FF-4573-BDDA-0E9D3BA03139}" type="presOf" srcId="{4AB20BAC-50AB-4E9A-A81F-AFC34B6BBC5A}" destId="{AC6B1590-E593-4F0A-88A3-61E00CDB11CD}" srcOrd="0" destOrd="0" presId="urn:microsoft.com/office/officeart/2005/8/layout/radial6"/>
    <dgm:cxn modelId="{0CCFD2FD-B755-46D9-BD79-FF13BE6B8238}" type="presOf" srcId="{DA7C03E3-B87C-42C4-AFFB-C34244716E4D}" destId="{66C28DBB-51A5-4C83-8020-DEEC1A4FFD3D}" srcOrd="0" destOrd="0" presId="urn:microsoft.com/office/officeart/2005/8/layout/radial6"/>
    <dgm:cxn modelId="{55BC849E-012B-49D5-8138-6B9E9CD7004A}" type="presParOf" srcId="{AC6B1590-E593-4F0A-88A3-61E00CDB11CD}" destId="{FD698645-F894-41AA-B351-063E8ED81A27}" srcOrd="0" destOrd="0" presId="urn:microsoft.com/office/officeart/2005/8/layout/radial6"/>
    <dgm:cxn modelId="{905B25A4-A872-4A3F-8351-37BD9BD08A25}" type="presParOf" srcId="{AC6B1590-E593-4F0A-88A3-61E00CDB11CD}" destId="{9110FEF6-01FE-4FF2-AEF5-AC31D26583C2}" srcOrd="1" destOrd="0" presId="urn:microsoft.com/office/officeart/2005/8/layout/radial6"/>
    <dgm:cxn modelId="{A6C22D32-5699-4D1D-A3AA-AFAE03B0704D}" type="presParOf" srcId="{AC6B1590-E593-4F0A-88A3-61E00CDB11CD}" destId="{99C2B632-6EFD-4871-BC26-8C39056608C5}" srcOrd="2" destOrd="0" presId="urn:microsoft.com/office/officeart/2005/8/layout/radial6"/>
    <dgm:cxn modelId="{609E6A5C-F5B8-4FD5-826E-32252535DEE0}" type="presParOf" srcId="{AC6B1590-E593-4F0A-88A3-61E00CDB11CD}" destId="{D5CA9756-C80F-457A-AE90-86D6B49E155C}" srcOrd="3" destOrd="0" presId="urn:microsoft.com/office/officeart/2005/8/layout/radial6"/>
    <dgm:cxn modelId="{88FE7893-41C2-433D-96A0-B169B48EAE2A}" type="presParOf" srcId="{AC6B1590-E593-4F0A-88A3-61E00CDB11CD}" destId="{4370FAD4-A0DA-49EC-AE4A-89BCB1DB6970}" srcOrd="4" destOrd="0" presId="urn:microsoft.com/office/officeart/2005/8/layout/radial6"/>
    <dgm:cxn modelId="{04B6365B-8868-481F-9816-7E915828F04E}" type="presParOf" srcId="{AC6B1590-E593-4F0A-88A3-61E00CDB11CD}" destId="{15698508-405C-4AAE-9E2F-35207EEA1202}" srcOrd="5" destOrd="0" presId="urn:microsoft.com/office/officeart/2005/8/layout/radial6"/>
    <dgm:cxn modelId="{5F2C7787-7F4A-4AD0-83C3-AAAFC5E8A810}" type="presParOf" srcId="{AC6B1590-E593-4F0A-88A3-61E00CDB11CD}" destId="{593C6C92-DB1C-447B-A454-B6F4C73278F4}" srcOrd="6" destOrd="0" presId="urn:microsoft.com/office/officeart/2005/8/layout/radial6"/>
    <dgm:cxn modelId="{FF02EE38-F49A-4385-8947-B9042584C798}" type="presParOf" srcId="{AC6B1590-E593-4F0A-88A3-61E00CDB11CD}" destId="{52E43205-0459-49BB-91E0-EE30148258C4}" srcOrd="7" destOrd="0" presId="urn:microsoft.com/office/officeart/2005/8/layout/radial6"/>
    <dgm:cxn modelId="{CC73B739-9EF9-4A4D-914C-AF2FF0C64599}" type="presParOf" srcId="{AC6B1590-E593-4F0A-88A3-61E00CDB11CD}" destId="{59910D7B-C8E5-4895-9248-082E7B774FBE}" srcOrd="8" destOrd="0" presId="urn:microsoft.com/office/officeart/2005/8/layout/radial6"/>
    <dgm:cxn modelId="{7B2865DD-0725-42AE-A615-1CA89AAC58BC}" type="presParOf" srcId="{AC6B1590-E593-4F0A-88A3-61E00CDB11CD}" destId="{66C28DBB-51A5-4C83-8020-DEEC1A4FFD3D}" srcOrd="9" destOrd="0" presId="urn:microsoft.com/office/officeart/2005/8/layout/radial6"/>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4D488C-F995-C04E-8254-6D1D769275AC}">
      <dsp:nvSpPr>
        <dsp:cNvPr id="0" name=""/>
        <dsp:cNvSpPr/>
      </dsp:nvSpPr>
      <dsp:spPr>
        <a:xfrm>
          <a:off x="-3681105" y="389255"/>
          <a:ext cx="4387964" cy="4387964"/>
        </a:xfrm>
        <a:prstGeom prst="blockArc">
          <a:avLst>
            <a:gd name="adj1" fmla="val 18900000"/>
            <a:gd name="adj2" fmla="val 2700000"/>
            <a:gd name="adj3" fmla="val 492"/>
          </a:avLst>
        </a:pr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D90485D-E2FE-4C4B-9B8D-625C5D265FD7}">
      <dsp:nvSpPr>
        <dsp:cNvPr id="0" name=""/>
        <dsp:cNvSpPr/>
      </dsp:nvSpPr>
      <dsp:spPr>
        <a:xfrm>
          <a:off x="309949" y="1158314"/>
          <a:ext cx="2253067" cy="407232"/>
        </a:xfrm>
        <a:prstGeom prst="rect">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23241" tIns="30480" rIns="30480" bIns="30480" numCol="1" spcCol="1270" anchor="ctr" anchorCtr="0">
          <a:noAutofit/>
        </a:bodyPr>
        <a:lstStyle/>
        <a:p>
          <a:pPr marL="0" lvl="0" indent="0" algn="l" defTabSz="533400">
            <a:lnSpc>
              <a:spcPct val="90000"/>
            </a:lnSpc>
            <a:spcBef>
              <a:spcPct val="0"/>
            </a:spcBef>
            <a:spcAft>
              <a:spcPct val="35000"/>
            </a:spcAft>
            <a:buNone/>
          </a:pPr>
          <a:r>
            <a:rPr lang="en-US" sz="1200" kern="1200"/>
            <a:t>understanding of germplasm response</a:t>
          </a:r>
        </a:p>
      </dsp:txBody>
      <dsp:txXfrm>
        <a:off x="309949" y="1158314"/>
        <a:ext cx="2253067" cy="407232"/>
      </dsp:txXfrm>
    </dsp:sp>
    <dsp:sp modelId="{F7D87AC4-6BD4-4555-B634-2B6697D44C4A}">
      <dsp:nvSpPr>
        <dsp:cNvPr id="0" name=""/>
        <dsp:cNvSpPr/>
      </dsp:nvSpPr>
      <dsp:spPr>
        <a:xfrm>
          <a:off x="186565" y="1233764"/>
          <a:ext cx="246767" cy="256332"/>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dk2">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 modelId="{A91547C8-BEEF-4B50-997C-D666D4BF5A77}">
      <dsp:nvSpPr>
        <dsp:cNvPr id="0" name=""/>
        <dsp:cNvSpPr/>
      </dsp:nvSpPr>
      <dsp:spPr>
        <a:xfrm>
          <a:off x="601760" y="1768968"/>
          <a:ext cx="1961256" cy="407232"/>
        </a:xfrm>
        <a:prstGeom prst="rect">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23241" tIns="30480" rIns="30480" bIns="30480" numCol="1" spcCol="1270" anchor="ctr" anchorCtr="0">
          <a:noAutofit/>
        </a:bodyPr>
        <a:lstStyle/>
        <a:p>
          <a:pPr marL="0" lvl="0" indent="0" algn="l" defTabSz="533400">
            <a:lnSpc>
              <a:spcPct val="90000"/>
            </a:lnSpc>
            <a:spcBef>
              <a:spcPct val="0"/>
            </a:spcBef>
            <a:spcAft>
              <a:spcPct val="35000"/>
            </a:spcAft>
            <a:buNone/>
          </a:pPr>
          <a:r>
            <a:rPr lang="en-US" sz="1200" kern="1200"/>
            <a:t>G x E</a:t>
          </a:r>
        </a:p>
      </dsp:txBody>
      <dsp:txXfrm>
        <a:off x="601760" y="1768968"/>
        <a:ext cx="1961256" cy="407232"/>
      </dsp:txXfrm>
    </dsp:sp>
    <dsp:sp modelId="{5B4EE567-219F-AD4B-B9CA-CAD2F4F1E79E}">
      <dsp:nvSpPr>
        <dsp:cNvPr id="0" name=""/>
        <dsp:cNvSpPr/>
      </dsp:nvSpPr>
      <dsp:spPr>
        <a:xfrm>
          <a:off x="482652" y="1853476"/>
          <a:ext cx="238215" cy="238215"/>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dk2">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 modelId="{E1B0CC18-4735-4CA8-BDF5-F0547F729FAE}">
      <dsp:nvSpPr>
        <dsp:cNvPr id="0" name=""/>
        <dsp:cNvSpPr/>
      </dsp:nvSpPr>
      <dsp:spPr>
        <a:xfrm>
          <a:off x="691323" y="2379621"/>
          <a:ext cx="1871693" cy="407232"/>
        </a:xfrm>
        <a:prstGeom prst="rect">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23241" tIns="30480" rIns="30480" bIns="30480" numCol="1" spcCol="1270" anchor="ctr" anchorCtr="0">
          <a:noAutofit/>
        </a:bodyPr>
        <a:lstStyle/>
        <a:p>
          <a:pPr marL="0" lvl="0" indent="0" algn="l" defTabSz="533400">
            <a:lnSpc>
              <a:spcPct val="90000"/>
            </a:lnSpc>
            <a:spcBef>
              <a:spcPct val="0"/>
            </a:spcBef>
            <a:spcAft>
              <a:spcPct val="35000"/>
            </a:spcAft>
            <a:buNone/>
          </a:pPr>
          <a:r>
            <a:rPr lang="en-US" sz="1200" kern="1200"/>
            <a:t>Testing Footprint Optimization</a:t>
          </a:r>
        </a:p>
      </dsp:txBody>
      <dsp:txXfrm>
        <a:off x="691323" y="2379621"/>
        <a:ext cx="1871693" cy="407232"/>
      </dsp:txXfrm>
    </dsp:sp>
    <dsp:sp modelId="{FD012FB0-3EE1-7C47-BA84-D2896AC1E983}">
      <dsp:nvSpPr>
        <dsp:cNvPr id="0" name=""/>
        <dsp:cNvSpPr/>
      </dsp:nvSpPr>
      <dsp:spPr>
        <a:xfrm>
          <a:off x="572215" y="2464130"/>
          <a:ext cx="238215" cy="238215"/>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dk2">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 modelId="{0B83F0EF-0FB0-4FDD-98F5-4DD8A89E3762}">
      <dsp:nvSpPr>
        <dsp:cNvPr id="0" name=""/>
        <dsp:cNvSpPr/>
      </dsp:nvSpPr>
      <dsp:spPr>
        <a:xfrm>
          <a:off x="601760" y="2990275"/>
          <a:ext cx="1961256" cy="407232"/>
        </a:xfrm>
        <a:prstGeom prst="rect">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23241" tIns="30480" rIns="30480" bIns="30480" numCol="1" spcCol="1270" anchor="ctr" anchorCtr="0">
          <a:noAutofit/>
        </a:bodyPr>
        <a:lstStyle/>
        <a:p>
          <a:pPr marL="0" lvl="0" indent="0" algn="l" defTabSz="533400">
            <a:lnSpc>
              <a:spcPct val="90000"/>
            </a:lnSpc>
            <a:spcBef>
              <a:spcPct val="0"/>
            </a:spcBef>
            <a:spcAft>
              <a:spcPct val="35000"/>
            </a:spcAft>
            <a:buNone/>
          </a:pPr>
          <a:r>
            <a:rPr lang="en-US" sz="1200" kern="1200"/>
            <a:t>Alternative Testing Location</a:t>
          </a:r>
        </a:p>
      </dsp:txBody>
      <dsp:txXfrm>
        <a:off x="601760" y="2990275"/>
        <a:ext cx="1961256" cy="407232"/>
      </dsp:txXfrm>
    </dsp:sp>
    <dsp:sp modelId="{F3083065-5670-EB4C-826E-55C08C1442D9}">
      <dsp:nvSpPr>
        <dsp:cNvPr id="0" name=""/>
        <dsp:cNvSpPr/>
      </dsp:nvSpPr>
      <dsp:spPr>
        <a:xfrm>
          <a:off x="482652" y="3074783"/>
          <a:ext cx="238215" cy="238215"/>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dk2">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 modelId="{0785A900-8DE7-4397-8935-E374A98DF345}">
      <dsp:nvSpPr>
        <dsp:cNvPr id="0" name=""/>
        <dsp:cNvSpPr/>
      </dsp:nvSpPr>
      <dsp:spPr>
        <a:xfrm>
          <a:off x="309949" y="3600928"/>
          <a:ext cx="2253067" cy="407232"/>
        </a:xfrm>
        <a:prstGeom prst="rect">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23241" tIns="30480" rIns="30480" bIns="30480" numCol="1" spcCol="1270" anchor="ctr" anchorCtr="0">
          <a:noAutofit/>
        </a:bodyPr>
        <a:lstStyle/>
        <a:p>
          <a:pPr marL="0" lvl="0" indent="0" algn="l" defTabSz="533400">
            <a:lnSpc>
              <a:spcPct val="90000"/>
            </a:lnSpc>
            <a:spcBef>
              <a:spcPct val="0"/>
            </a:spcBef>
            <a:spcAft>
              <a:spcPct val="35000"/>
            </a:spcAft>
            <a:buNone/>
          </a:pPr>
          <a:r>
            <a:rPr lang="en-US" sz="1200" kern="1200"/>
            <a:t>Market Expansion</a:t>
          </a:r>
        </a:p>
      </dsp:txBody>
      <dsp:txXfrm>
        <a:off x="309949" y="3600928"/>
        <a:ext cx="2253067" cy="407232"/>
      </dsp:txXfrm>
    </dsp:sp>
    <dsp:sp modelId="{3994974B-2FA6-2443-8656-F0D33C816422}">
      <dsp:nvSpPr>
        <dsp:cNvPr id="0" name=""/>
        <dsp:cNvSpPr/>
      </dsp:nvSpPr>
      <dsp:spPr>
        <a:xfrm>
          <a:off x="190841" y="3685437"/>
          <a:ext cx="238215" cy="238215"/>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dk2">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C28DBB-51A5-4C83-8020-DEEC1A4FFD3D}">
      <dsp:nvSpPr>
        <dsp:cNvPr id="0" name=""/>
        <dsp:cNvSpPr/>
      </dsp:nvSpPr>
      <dsp:spPr>
        <a:xfrm>
          <a:off x="1149415" y="605779"/>
          <a:ext cx="4037284" cy="4037284"/>
        </a:xfrm>
        <a:prstGeom prst="blockArc">
          <a:avLst>
            <a:gd name="adj1" fmla="val 9000000"/>
            <a:gd name="adj2" fmla="val 16200000"/>
            <a:gd name="adj3" fmla="val 4642"/>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sp>
    <dsp:sp modelId="{593C6C92-DB1C-447B-A454-B6F4C73278F4}">
      <dsp:nvSpPr>
        <dsp:cNvPr id="0" name=""/>
        <dsp:cNvSpPr/>
      </dsp:nvSpPr>
      <dsp:spPr>
        <a:xfrm>
          <a:off x="1149415" y="605779"/>
          <a:ext cx="4037284" cy="4037284"/>
        </a:xfrm>
        <a:prstGeom prst="blockArc">
          <a:avLst>
            <a:gd name="adj1" fmla="val 1800000"/>
            <a:gd name="adj2" fmla="val 9000000"/>
            <a:gd name="adj3" fmla="val 4642"/>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sp>
    <dsp:sp modelId="{D5CA9756-C80F-457A-AE90-86D6B49E155C}">
      <dsp:nvSpPr>
        <dsp:cNvPr id="0" name=""/>
        <dsp:cNvSpPr/>
      </dsp:nvSpPr>
      <dsp:spPr>
        <a:xfrm>
          <a:off x="1149415" y="605779"/>
          <a:ext cx="4037284" cy="4037284"/>
        </a:xfrm>
        <a:prstGeom prst="blockArc">
          <a:avLst>
            <a:gd name="adj1" fmla="val 16200000"/>
            <a:gd name="adj2" fmla="val 1800000"/>
            <a:gd name="adj3" fmla="val 4642"/>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sp>
    <dsp:sp modelId="{FD698645-F894-41AA-B351-063E8ED81A27}">
      <dsp:nvSpPr>
        <dsp:cNvPr id="0" name=""/>
        <dsp:cNvSpPr/>
      </dsp:nvSpPr>
      <dsp:spPr>
        <a:xfrm>
          <a:off x="2238369" y="1694732"/>
          <a:ext cx="1859377" cy="1859377"/>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r>
            <a:rPr lang="en-US" sz="2100" kern="1200">
              <a:solidFill>
                <a:srgbClr val="0070C0"/>
              </a:solidFill>
            </a:rPr>
            <a:t>Framework to develop ARD</a:t>
          </a:r>
        </a:p>
      </dsp:txBody>
      <dsp:txXfrm>
        <a:off x="2510668" y="1967031"/>
        <a:ext cx="1314779" cy="1314779"/>
      </dsp:txXfrm>
    </dsp:sp>
    <dsp:sp modelId="{9110FEF6-01FE-4FF2-AEF5-AC31D26583C2}">
      <dsp:nvSpPr>
        <dsp:cNvPr id="0" name=""/>
        <dsp:cNvSpPr/>
      </dsp:nvSpPr>
      <dsp:spPr>
        <a:xfrm>
          <a:off x="2517275" y="1853"/>
          <a:ext cx="1301564" cy="1301564"/>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t>Different Regions</a:t>
          </a:r>
        </a:p>
      </dsp:txBody>
      <dsp:txXfrm>
        <a:off x="2707885" y="192463"/>
        <a:ext cx="920344" cy="920344"/>
      </dsp:txXfrm>
    </dsp:sp>
    <dsp:sp modelId="{4370FAD4-A0DA-49EC-AE4A-89BCB1DB6970}">
      <dsp:nvSpPr>
        <dsp:cNvPr id="0" name=""/>
        <dsp:cNvSpPr/>
      </dsp:nvSpPr>
      <dsp:spPr>
        <a:xfrm>
          <a:off x="4224892" y="2959532"/>
          <a:ext cx="1301564" cy="1301564"/>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t>Different Resolution </a:t>
          </a:r>
        </a:p>
        <a:p>
          <a:pPr marL="0" lvl="0" indent="0" algn="ctr" defTabSz="622300">
            <a:lnSpc>
              <a:spcPct val="90000"/>
            </a:lnSpc>
            <a:spcBef>
              <a:spcPct val="0"/>
            </a:spcBef>
            <a:spcAft>
              <a:spcPct val="35000"/>
            </a:spcAft>
            <a:buNone/>
          </a:pPr>
          <a:r>
            <a:rPr lang="en-US" sz="1400" b="1" kern="1200"/>
            <a:t>(Low to High)</a:t>
          </a:r>
        </a:p>
      </dsp:txBody>
      <dsp:txXfrm>
        <a:off x="4415502" y="3150142"/>
        <a:ext cx="920344" cy="920344"/>
      </dsp:txXfrm>
    </dsp:sp>
    <dsp:sp modelId="{52E43205-0459-49BB-91E0-EE30148258C4}">
      <dsp:nvSpPr>
        <dsp:cNvPr id="0" name=""/>
        <dsp:cNvSpPr/>
      </dsp:nvSpPr>
      <dsp:spPr>
        <a:xfrm>
          <a:off x="809659" y="2959532"/>
          <a:ext cx="1301564" cy="1301564"/>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t>Different Variables</a:t>
          </a:r>
        </a:p>
      </dsp:txBody>
      <dsp:txXfrm>
        <a:off x="1000269" y="3150142"/>
        <a:ext cx="920344" cy="920344"/>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0FE80BD-2006-4EA1-8E3C-10C564DC791E}" type="datetimeFigureOut">
              <a:rPr lang="en-US" smtClean="0"/>
              <a:t>7/28/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4D6B531-C8A2-4B0D-A016-A84599D65944}" type="slidenum">
              <a:rPr lang="en-US" smtClean="0"/>
              <a:t>‹#›</a:t>
            </a:fld>
            <a:endParaRPr lang="en-US"/>
          </a:p>
        </p:txBody>
      </p:sp>
    </p:spTree>
    <p:extLst>
      <p:ext uri="{BB962C8B-B14F-4D97-AF65-F5344CB8AC3E}">
        <p14:creationId xmlns:p14="http://schemas.microsoft.com/office/powerpoint/2010/main" val="25965874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D6B531-C8A2-4B0D-A016-A84599D65944}" type="slidenum">
              <a:rPr lang="en-US" smtClean="0"/>
              <a:t>4</a:t>
            </a:fld>
            <a:endParaRPr lang="en-US"/>
          </a:p>
        </p:txBody>
      </p:sp>
    </p:spTree>
    <p:extLst>
      <p:ext uri="{BB962C8B-B14F-4D97-AF65-F5344CB8AC3E}">
        <p14:creationId xmlns:p14="http://schemas.microsoft.com/office/powerpoint/2010/main" val="36666347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28650" lvl="1" indent="-171450">
              <a:lnSpc>
                <a:spcPct val="150000"/>
              </a:lnSpc>
              <a:buFontTx/>
              <a:buChar char="-"/>
            </a:pPr>
            <a:r>
              <a:rPr lang="en-US" dirty="0"/>
              <a:t>Before jumping into detail explanation of results, let’s see the result summary first. </a:t>
            </a:r>
          </a:p>
          <a:p>
            <a:pPr marL="628650" lvl="1" indent="-171450">
              <a:lnSpc>
                <a:spcPct val="150000"/>
              </a:lnSpc>
              <a:buFontTx/>
              <a:buChar char="-"/>
            </a:pPr>
            <a:r>
              <a:rPr lang="en-US" dirty="0"/>
              <a:t>For each variable, I am using R2 to explain the strength between datasets.</a:t>
            </a:r>
          </a:p>
          <a:p>
            <a:pPr marL="628650" lvl="1" indent="-171450">
              <a:lnSpc>
                <a:spcPct val="150000"/>
              </a:lnSpc>
              <a:buFontTx/>
              <a:buChar char="-"/>
            </a:pPr>
            <a:r>
              <a:rPr lang="en-US" dirty="0"/>
              <a:t>First, we compare the R2 of the original datasets shown in this 2</a:t>
            </a:r>
            <a:r>
              <a:rPr lang="en-US" baseline="30000" dirty="0"/>
              <a:t>nd</a:t>
            </a:r>
            <a:r>
              <a:rPr lang="en-US" dirty="0"/>
              <a:t> column. The TWC weather variables are in 4km resolution already. So, I resampled era4 variables to 4km and calculated R2 to estimate correlation. some of the variables the R2 values is not very good. </a:t>
            </a:r>
          </a:p>
          <a:p>
            <a:pPr marL="628650" lvl="1" indent="-171450">
              <a:lnSpc>
                <a:spcPct val="150000"/>
              </a:lnSpc>
              <a:buFontTx/>
              <a:buChar char="-"/>
            </a:pPr>
            <a:r>
              <a:rPr lang="en-US" dirty="0"/>
              <a:t>Then I apply the machine learning algorithm. In the 3</a:t>
            </a:r>
            <a:r>
              <a:rPr lang="en-US" baseline="30000" dirty="0"/>
              <a:t>rd</a:t>
            </a:r>
            <a:r>
              <a:rPr lang="en-US" dirty="0"/>
              <a:t> and 4</a:t>
            </a:r>
            <a:r>
              <a:rPr lang="en-US" baseline="30000" dirty="0"/>
              <a:t>th</a:t>
            </a:r>
            <a:r>
              <a:rPr lang="en-US" dirty="0"/>
              <a:t> column I am showing the R2 values between modeled 4km resolution data and TWC data.</a:t>
            </a:r>
          </a:p>
          <a:p>
            <a:pPr marL="457200" lvl="1" indent="0">
              <a:lnSpc>
                <a:spcPct val="150000"/>
              </a:lnSpc>
              <a:buFont typeface="Courier New" panose="02070309020205020404" pitchFamily="49" charset="0"/>
              <a:buNone/>
            </a:pPr>
            <a:r>
              <a:rPr lang="en-US" dirty="0"/>
              <a:t>- For the total precipitation model, the R2 performance didn’t improve. </a:t>
            </a:r>
          </a:p>
          <a:p>
            <a:pPr marL="457200" lvl="1" indent="0">
              <a:lnSpc>
                <a:spcPct val="150000"/>
              </a:lnSpc>
              <a:buFont typeface="Courier New" panose="02070309020205020404" pitchFamily="49" charset="0"/>
              <a:buNone/>
            </a:pPr>
            <a:r>
              <a:rPr lang="en-US" dirty="0"/>
              <a:t>- I will be explaining the results in a bit detail in the following slides.</a:t>
            </a:r>
          </a:p>
        </p:txBody>
      </p:sp>
      <p:sp>
        <p:nvSpPr>
          <p:cNvPr id="4" name="Slide Number Placeholder 3"/>
          <p:cNvSpPr>
            <a:spLocks noGrp="1"/>
          </p:cNvSpPr>
          <p:nvPr>
            <p:ph type="sldNum" sz="quarter" idx="5"/>
          </p:nvPr>
        </p:nvSpPr>
        <p:spPr/>
        <p:txBody>
          <a:bodyPr/>
          <a:lstStyle/>
          <a:p>
            <a:fld id="{24D6B531-C8A2-4B0D-A016-A84599D65944}" type="slidenum">
              <a:rPr lang="en-US" smtClean="0"/>
              <a:t>17</a:t>
            </a:fld>
            <a:endParaRPr lang="en-US"/>
          </a:p>
        </p:txBody>
      </p:sp>
    </p:spTree>
    <p:extLst>
      <p:ext uri="{BB962C8B-B14F-4D97-AF65-F5344CB8AC3E}">
        <p14:creationId xmlns:p14="http://schemas.microsoft.com/office/powerpoint/2010/main" val="13249765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left plot is a scatter plot between resampled ERA5 data and TWC training Data. For doing this comparison, I resampled the ERA5 dataset to 4km which is the resolution of the TWC dataset. The R2 score signifies that there are some correlation, but we want to improve th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o, we apply the trained machine learning model and the R2 improves for both train and test set. The scatter plot in the middle shows the improved correlation between Modeled ERA5 data with Observed TWC data for the train set. And the 3</a:t>
            </a:r>
            <a:r>
              <a:rPr lang="en-US" baseline="30000" dirty="0"/>
              <a:t>rd</a:t>
            </a:r>
            <a:r>
              <a:rPr lang="en-US" dirty="0"/>
              <a:t> plot is for the test dataset. In both of these cases, the high R2 score signifies that the model is doing well in improving the spatial resolution of average relative humidity dat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ost machine learning studies compare model performance on the train and test dataset, but we wanted to see how our model is performing for daily dataset. </a:t>
            </a:r>
          </a:p>
        </p:txBody>
      </p:sp>
      <p:sp>
        <p:nvSpPr>
          <p:cNvPr id="4" name="Slide Number Placeholder 3"/>
          <p:cNvSpPr>
            <a:spLocks noGrp="1"/>
          </p:cNvSpPr>
          <p:nvPr>
            <p:ph type="sldNum" sz="quarter" idx="5"/>
          </p:nvPr>
        </p:nvSpPr>
        <p:spPr/>
        <p:txBody>
          <a:bodyPr/>
          <a:lstStyle/>
          <a:p>
            <a:fld id="{24D6B531-C8A2-4B0D-A016-A84599D65944}" type="slidenum">
              <a:rPr lang="en-US" smtClean="0"/>
              <a:t>18</a:t>
            </a:fld>
            <a:endParaRPr lang="en-US"/>
          </a:p>
        </p:txBody>
      </p:sp>
    </p:spTree>
    <p:extLst>
      <p:ext uri="{BB962C8B-B14F-4D97-AF65-F5344CB8AC3E}">
        <p14:creationId xmlns:p14="http://schemas.microsoft.com/office/powerpoint/2010/main" val="26208403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odel performance for randomly selected dates from the test dataset.</a:t>
            </a:r>
          </a:p>
        </p:txBody>
      </p:sp>
      <p:sp>
        <p:nvSpPr>
          <p:cNvPr id="4" name="Slide Number Placeholder 3"/>
          <p:cNvSpPr>
            <a:spLocks noGrp="1"/>
          </p:cNvSpPr>
          <p:nvPr>
            <p:ph type="sldNum" sz="quarter" idx="5"/>
          </p:nvPr>
        </p:nvSpPr>
        <p:spPr/>
        <p:txBody>
          <a:bodyPr/>
          <a:lstStyle/>
          <a:p>
            <a:fld id="{24D6B531-C8A2-4B0D-A016-A84599D65944}" type="slidenum">
              <a:rPr lang="en-US" smtClean="0"/>
              <a:t>19</a:t>
            </a:fld>
            <a:endParaRPr lang="en-US"/>
          </a:p>
        </p:txBody>
      </p:sp>
    </p:spTree>
    <p:extLst>
      <p:ext uri="{BB962C8B-B14F-4D97-AF65-F5344CB8AC3E}">
        <p14:creationId xmlns:p14="http://schemas.microsoft.com/office/powerpoint/2010/main" val="14486558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 looked into model results for randomly selected dates in the previous slide. But we also wanted to see how the model does for all dates in the test dataset. The blue boxplot shows range of R2 scores for days before ML was applied and the R2 scores are mostly negative. The orange plot shows the R2 scores after the trained ML was applied and it shows that how the ML model improves R2 score for daily dataset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boxplot confirms that the ML model performs well for average relative humidity at daily scal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24D6B531-C8A2-4B0D-A016-A84599D65944}" type="slidenum">
              <a:rPr lang="en-US" smtClean="0"/>
              <a:t>20</a:t>
            </a:fld>
            <a:endParaRPr lang="en-US"/>
          </a:p>
        </p:txBody>
      </p:sp>
    </p:spTree>
    <p:extLst>
      <p:ext uri="{BB962C8B-B14F-4D97-AF65-F5344CB8AC3E}">
        <p14:creationId xmlns:p14="http://schemas.microsoft.com/office/powerpoint/2010/main" val="39098333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w let’s see how the model interpolated data and the source (ERA5 and TWC) datasets look like spatially. Good spatial agreement.</a:t>
            </a:r>
          </a:p>
        </p:txBody>
      </p:sp>
      <p:sp>
        <p:nvSpPr>
          <p:cNvPr id="4" name="Slide Number Placeholder 3"/>
          <p:cNvSpPr>
            <a:spLocks noGrp="1"/>
          </p:cNvSpPr>
          <p:nvPr>
            <p:ph type="sldNum" sz="quarter" idx="5"/>
          </p:nvPr>
        </p:nvSpPr>
        <p:spPr/>
        <p:txBody>
          <a:bodyPr/>
          <a:lstStyle/>
          <a:p>
            <a:fld id="{24D6B531-C8A2-4B0D-A016-A84599D65944}" type="slidenum">
              <a:rPr lang="en-US" smtClean="0"/>
              <a:t>21</a:t>
            </a:fld>
            <a:endParaRPr lang="en-US"/>
          </a:p>
        </p:txBody>
      </p:sp>
    </p:spTree>
    <p:extLst>
      <p:ext uri="{BB962C8B-B14F-4D97-AF65-F5344CB8AC3E}">
        <p14:creationId xmlns:p14="http://schemas.microsoft.com/office/powerpoint/2010/main" val="32690771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he left plot is a scatter plot between resampled ERA5 max temp and Observed TWC max temp. For doing this comparison, I resampled the ERA5 dataset to 4km which is the resolution of the TWC dataset. The R2 score signifies that there are already good correlation, but we want to improve th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So, we apply the trained machine learning model and the R2 improves for both train and test set.</a:t>
            </a:r>
          </a:p>
          <a:p>
            <a:endParaRPr lang="en-US"/>
          </a:p>
        </p:txBody>
      </p:sp>
      <p:sp>
        <p:nvSpPr>
          <p:cNvPr id="4" name="Slide Number Placeholder 3"/>
          <p:cNvSpPr>
            <a:spLocks noGrp="1"/>
          </p:cNvSpPr>
          <p:nvPr>
            <p:ph type="sldNum" sz="quarter" idx="5"/>
          </p:nvPr>
        </p:nvSpPr>
        <p:spPr/>
        <p:txBody>
          <a:bodyPr/>
          <a:lstStyle/>
          <a:p>
            <a:fld id="{24D6B531-C8A2-4B0D-A016-A84599D65944}" type="slidenum">
              <a:rPr lang="en-US" smtClean="0"/>
              <a:t>22</a:t>
            </a:fld>
            <a:endParaRPr lang="en-US"/>
          </a:p>
        </p:txBody>
      </p:sp>
    </p:spTree>
    <p:extLst>
      <p:ext uri="{BB962C8B-B14F-4D97-AF65-F5344CB8AC3E}">
        <p14:creationId xmlns:p14="http://schemas.microsoft.com/office/powerpoint/2010/main" val="11728653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imilar to Avg. Rel. Humidity, the boxplot here is showing how the model performs for all dates in test dataset for maximum temperature model. The blue boxplot shows range of R2 scores before ML was applied and you can see that the R2 scores are quite good. The orange plot shows the R2 scores are further improved after the trained ML was applied. This shows that how the ML model performs well for maximum temperature at daily scal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24D6B531-C8A2-4B0D-A016-A84599D65944}" type="slidenum">
              <a:rPr lang="en-US" smtClean="0"/>
              <a:t>23</a:t>
            </a:fld>
            <a:endParaRPr lang="en-US"/>
          </a:p>
        </p:txBody>
      </p:sp>
    </p:spTree>
    <p:extLst>
      <p:ext uri="{BB962C8B-B14F-4D97-AF65-F5344CB8AC3E}">
        <p14:creationId xmlns:p14="http://schemas.microsoft.com/office/powerpoint/2010/main" val="27998747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plotted with the source datasets (ERA5 and TWC) the interpolated data shows good spatial agreement throughout the study region.</a:t>
            </a:r>
          </a:p>
        </p:txBody>
      </p:sp>
      <p:sp>
        <p:nvSpPr>
          <p:cNvPr id="4" name="Slide Number Placeholder 3"/>
          <p:cNvSpPr>
            <a:spLocks noGrp="1"/>
          </p:cNvSpPr>
          <p:nvPr>
            <p:ph type="sldNum" sz="quarter" idx="5"/>
          </p:nvPr>
        </p:nvSpPr>
        <p:spPr/>
        <p:txBody>
          <a:bodyPr/>
          <a:lstStyle/>
          <a:p>
            <a:fld id="{24D6B531-C8A2-4B0D-A016-A84599D65944}" type="slidenum">
              <a:rPr lang="en-US" smtClean="0"/>
              <a:t>24</a:t>
            </a:fld>
            <a:endParaRPr lang="en-US"/>
          </a:p>
        </p:txBody>
      </p:sp>
    </p:spTree>
    <p:extLst>
      <p:ext uri="{BB962C8B-B14F-4D97-AF65-F5344CB8AC3E}">
        <p14:creationId xmlns:p14="http://schemas.microsoft.com/office/powerpoint/2010/main" val="30482526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D6B531-C8A2-4B0D-A016-A84599D65944}" type="slidenum">
              <a:rPr lang="en-US" smtClean="0"/>
              <a:t>25</a:t>
            </a:fld>
            <a:endParaRPr lang="en-US"/>
          </a:p>
        </p:txBody>
      </p:sp>
    </p:spTree>
    <p:extLst>
      <p:ext uri="{BB962C8B-B14F-4D97-AF65-F5344CB8AC3E}">
        <p14:creationId xmlns:p14="http://schemas.microsoft.com/office/powerpoint/2010/main" val="16238138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improve model performance, we applied deep learning. The green scatter plot shows the correlation between resampled ERA5 precipitation and TWC precipitation. </a:t>
            </a:r>
          </a:p>
          <a:p>
            <a:endParaRPr lang="en-US" dirty="0"/>
          </a:p>
          <a:p>
            <a:r>
              <a:rPr lang="en-US" dirty="0"/>
              <a:t>We found that DL solves the issue with overfitting, The scatter plots of train and test set shows there is no overfitting. But it also shows the model performance is not satisfactory. </a:t>
            </a:r>
          </a:p>
        </p:txBody>
      </p:sp>
      <p:sp>
        <p:nvSpPr>
          <p:cNvPr id="4" name="Slide Number Placeholder 3"/>
          <p:cNvSpPr>
            <a:spLocks noGrp="1"/>
          </p:cNvSpPr>
          <p:nvPr>
            <p:ph type="sldNum" sz="quarter" idx="5"/>
          </p:nvPr>
        </p:nvSpPr>
        <p:spPr/>
        <p:txBody>
          <a:bodyPr/>
          <a:lstStyle/>
          <a:p>
            <a:fld id="{24D6B531-C8A2-4B0D-A016-A84599D65944}" type="slidenum">
              <a:rPr lang="en-US" smtClean="0"/>
              <a:t>26</a:t>
            </a:fld>
            <a:endParaRPr lang="en-US"/>
          </a:p>
        </p:txBody>
      </p:sp>
    </p:spTree>
    <p:extLst>
      <p:ext uri="{BB962C8B-B14F-4D97-AF65-F5344CB8AC3E}">
        <p14:creationId xmlns:p14="http://schemas.microsoft.com/office/powerpoint/2010/main" val="26645465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The motivation of  this project comes from the environmental clustering app developed by Veg R&amp;D APD, that enables rapid, effective and scalable production of clustering maps across various crops and regions like shown here for the California region.</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It is used by teams across Veg R&amp;D and in multiple Bayer organizations, and unlocks multiple potential business values including but not limited to the ones listed ’the list’</a:t>
            </a:r>
          </a:p>
          <a:p>
            <a:pPr marL="171450" indent="-171450">
              <a:buFontTx/>
              <a:buChar char="-"/>
            </a:pPr>
            <a:r>
              <a:rPr lang="en-US" dirty="0"/>
              <a:t>This web app uses inputs: 20-yrs of weather data, soil, elevation data., but the bottleneck for improved resolution arises due to unavailability of high-resolution long-term weather data.</a:t>
            </a:r>
          </a:p>
          <a:p>
            <a:pPr marL="171450" indent="-171450">
              <a:buFontTx/>
              <a:buChar char="-"/>
            </a:pPr>
            <a:r>
              <a:rPr lang="en-US" dirty="0"/>
              <a:t>The current weather datasets are of lower spatial resolution-long temporal records and higher spatial resolution – short temporal records. </a:t>
            </a:r>
          </a:p>
          <a:p>
            <a:pPr marL="171450" indent="-171450">
              <a:buFontTx/>
              <a:buChar char="-"/>
            </a:pPr>
            <a:r>
              <a:rPr lang="en-US" dirty="0"/>
              <a:t>To improve the web app clustering performance, we need to have high spatial resolution long term datasets.</a:t>
            </a:r>
          </a:p>
          <a:p>
            <a:pPr marL="171450" indent="-171450">
              <a:buFontTx/>
              <a:buChar char="-"/>
            </a:pPr>
            <a:r>
              <a:rPr lang="en-US" dirty="0"/>
              <a:t>So, we propose a machine learning + spatial interpolation-based framework that will harmonize all datasets including the weather datasets to high spatial resolution.</a:t>
            </a:r>
          </a:p>
        </p:txBody>
      </p:sp>
      <p:sp>
        <p:nvSpPr>
          <p:cNvPr id="4" name="Slide Number Placeholder 3"/>
          <p:cNvSpPr>
            <a:spLocks noGrp="1"/>
          </p:cNvSpPr>
          <p:nvPr>
            <p:ph type="sldNum" sz="quarter" idx="5"/>
          </p:nvPr>
        </p:nvSpPr>
        <p:spPr/>
        <p:txBody>
          <a:bodyPr/>
          <a:lstStyle/>
          <a:p>
            <a:fld id="{24D6B531-C8A2-4B0D-A016-A84599D65944}" type="slidenum">
              <a:rPr lang="en-US" smtClean="0"/>
              <a:t>5</a:t>
            </a:fld>
            <a:endParaRPr lang="en-US"/>
          </a:p>
        </p:txBody>
      </p:sp>
    </p:spTree>
    <p:extLst>
      <p:ext uri="{BB962C8B-B14F-4D97-AF65-F5344CB8AC3E}">
        <p14:creationId xmlns:p14="http://schemas.microsoft.com/office/powerpoint/2010/main" val="96535985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When plotted with the source datasets (ERA5 and TWC), we can see that the DL model overestimates precipitation across our study region for this particular date.</a:t>
            </a:r>
          </a:p>
        </p:txBody>
      </p:sp>
      <p:sp>
        <p:nvSpPr>
          <p:cNvPr id="4" name="Slide Number Placeholder 3"/>
          <p:cNvSpPr>
            <a:spLocks noGrp="1"/>
          </p:cNvSpPr>
          <p:nvPr>
            <p:ph type="sldNum" sz="quarter" idx="5"/>
          </p:nvPr>
        </p:nvSpPr>
        <p:spPr/>
        <p:txBody>
          <a:bodyPr/>
          <a:lstStyle/>
          <a:p>
            <a:fld id="{24D6B531-C8A2-4B0D-A016-A84599D65944}" type="slidenum">
              <a:rPr lang="en-US" smtClean="0"/>
              <a:t>27</a:t>
            </a:fld>
            <a:endParaRPr lang="en-US"/>
          </a:p>
        </p:txBody>
      </p:sp>
    </p:spTree>
    <p:extLst>
      <p:ext uri="{BB962C8B-B14F-4D97-AF65-F5344CB8AC3E}">
        <p14:creationId xmlns:p14="http://schemas.microsoft.com/office/powerpoint/2010/main" val="23592569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e of the reasons why the precipitation model didn’t work well is the skewness in the dataset. Precipitation dataset has many zero values making the dataset skewed towards zero. Due to this skewness, our data splitting strategy isn’t doing well, and we see performance gap between train and validation dataset.</a:t>
            </a:r>
          </a:p>
        </p:txBody>
      </p:sp>
      <p:sp>
        <p:nvSpPr>
          <p:cNvPr id="4" name="Slide Number Placeholder 3"/>
          <p:cNvSpPr>
            <a:spLocks noGrp="1"/>
          </p:cNvSpPr>
          <p:nvPr>
            <p:ph type="sldNum" sz="quarter" idx="5"/>
          </p:nvPr>
        </p:nvSpPr>
        <p:spPr/>
        <p:txBody>
          <a:bodyPr/>
          <a:lstStyle/>
          <a:p>
            <a:fld id="{24D6B531-C8A2-4B0D-A016-A84599D65944}" type="slidenum">
              <a:rPr lang="en-US" smtClean="0"/>
              <a:t>28</a:t>
            </a:fld>
            <a:endParaRPr lang="en-US"/>
          </a:p>
        </p:txBody>
      </p:sp>
    </p:spTree>
    <p:extLst>
      <p:ext uri="{BB962C8B-B14F-4D97-AF65-F5344CB8AC3E}">
        <p14:creationId xmlns:p14="http://schemas.microsoft.com/office/powerpoint/2010/main" val="14054683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fter we interpolate the weather datasets with the ML models, we incorporate them into the 4km ARD. The 4km ARD have other datasets like directly resampled ERA5 datasets, soil, and elevation data.</a:t>
            </a:r>
          </a:p>
          <a:p>
            <a:endParaRPr lang="en-US" dirty="0"/>
          </a:p>
          <a:p>
            <a:r>
              <a:rPr lang="en-US" dirty="0"/>
              <a:t>We incorporate satellite LST data with these datasets and make the 100m version of the ARD. The 100m ARD only covers the Woodland site in California. We had to limit it to the Woodland site as LST dataset was only available for this site. With satellite dataset becoming available for other regions, we can use our framework to expand the spatial extent of the 100m ARD.</a:t>
            </a:r>
          </a:p>
        </p:txBody>
      </p:sp>
      <p:sp>
        <p:nvSpPr>
          <p:cNvPr id="4" name="Slide Number Placeholder 3"/>
          <p:cNvSpPr>
            <a:spLocks noGrp="1"/>
          </p:cNvSpPr>
          <p:nvPr>
            <p:ph type="sldNum" sz="quarter" idx="5"/>
          </p:nvPr>
        </p:nvSpPr>
        <p:spPr/>
        <p:txBody>
          <a:bodyPr/>
          <a:lstStyle/>
          <a:p>
            <a:fld id="{24D6B531-C8A2-4B0D-A016-A84599D65944}" type="slidenum">
              <a:rPr lang="en-US" smtClean="0"/>
              <a:t>30</a:t>
            </a:fld>
            <a:endParaRPr lang="en-US"/>
          </a:p>
        </p:txBody>
      </p:sp>
    </p:spTree>
    <p:extLst>
      <p:ext uri="{BB962C8B-B14F-4D97-AF65-F5344CB8AC3E}">
        <p14:creationId xmlns:p14="http://schemas.microsoft.com/office/powerpoint/2010/main" val="388590860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ference Ariel.</a:t>
            </a:r>
          </a:p>
          <a:p>
            <a:endParaRPr lang="en-US"/>
          </a:p>
          <a:p>
            <a:r>
              <a:rPr lang="en-US"/>
              <a:t>There is no vertical and horizontal segmentation, which was happening in the PROD App due to the ERA5 low resolution data.</a:t>
            </a:r>
          </a:p>
          <a:p>
            <a:endParaRPr lang="en-US"/>
          </a:p>
          <a:p>
            <a:r>
              <a:rPr lang="en-US"/>
              <a:t>In the new ARD integrated cluster map, the clusters are more defined. For example, due to low resolution the nearby testing fields belong to different clusters in the PROD app, and it is difficult to resolve which cluster they actually belong to. In the new map, the fields can be clearly isolated between the clusters.</a:t>
            </a:r>
          </a:p>
        </p:txBody>
      </p:sp>
      <p:sp>
        <p:nvSpPr>
          <p:cNvPr id="4" name="Slide Number Placeholder 3"/>
          <p:cNvSpPr>
            <a:spLocks noGrp="1"/>
          </p:cNvSpPr>
          <p:nvPr>
            <p:ph type="sldNum" sz="quarter" idx="5"/>
          </p:nvPr>
        </p:nvSpPr>
        <p:spPr/>
        <p:txBody>
          <a:bodyPr/>
          <a:lstStyle/>
          <a:p>
            <a:fld id="{24D6B531-C8A2-4B0D-A016-A84599D65944}" type="slidenum">
              <a:rPr lang="en-US" smtClean="0"/>
              <a:t>31</a:t>
            </a:fld>
            <a:endParaRPr lang="en-US"/>
          </a:p>
        </p:txBody>
      </p:sp>
    </p:spTree>
    <p:extLst>
      <p:ext uri="{BB962C8B-B14F-4D97-AF65-F5344CB8AC3E}">
        <p14:creationId xmlns:p14="http://schemas.microsoft.com/office/powerpoint/2010/main" val="12896007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D6B531-C8A2-4B0D-A016-A84599D65944}" type="slidenum">
              <a:rPr lang="en-US" smtClean="0"/>
              <a:t>32</a:t>
            </a:fld>
            <a:endParaRPr lang="en-US"/>
          </a:p>
        </p:txBody>
      </p:sp>
    </p:spTree>
    <p:extLst>
      <p:ext uri="{BB962C8B-B14F-4D97-AF65-F5344CB8AC3E}">
        <p14:creationId xmlns:p14="http://schemas.microsoft.com/office/powerpoint/2010/main" val="385365975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4D6B531-C8A2-4B0D-A016-A84599D65944}" type="slidenum">
              <a:rPr lang="en-US" smtClean="0"/>
              <a:t>36</a:t>
            </a:fld>
            <a:endParaRPr lang="en-US"/>
          </a:p>
        </p:txBody>
      </p:sp>
    </p:spTree>
    <p:extLst>
      <p:ext uri="{BB962C8B-B14F-4D97-AF65-F5344CB8AC3E}">
        <p14:creationId xmlns:p14="http://schemas.microsoft.com/office/powerpoint/2010/main" val="428883174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Model performance for randomly selected date</a:t>
            </a:r>
          </a:p>
        </p:txBody>
      </p:sp>
      <p:sp>
        <p:nvSpPr>
          <p:cNvPr id="4" name="Slide Number Placeholder 3"/>
          <p:cNvSpPr>
            <a:spLocks noGrp="1"/>
          </p:cNvSpPr>
          <p:nvPr>
            <p:ph type="sldNum" sz="quarter" idx="5"/>
          </p:nvPr>
        </p:nvSpPr>
        <p:spPr/>
        <p:txBody>
          <a:bodyPr/>
          <a:lstStyle/>
          <a:p>
            <a:fld id="{24D6B531-C8A2-4B0D-A016-A84599D65944}" type="slidenum">
              <a:rPr lang="en-US" smtClean="0"/>
              <a:t>37</a:t>
            </a:fld>
            <a:endParaRPr lang="en-US"/>
          </a:p>
        </p:txBody>
      </p:sp>
    </p:spTree>
    <p:extLst>
      <p:ext uri="{BB962C8B-B14F-4D97-AF65-F5344CB8AC3E}">
        <p14:creationId xmlns:p14="http://schemas.microsoft.com/office/powerpoint/2010/main" val="330753139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24D6B531-C8A2-4B0D-A016-A84599D65944}" type="slidenum">
              <a:rPr lang="en-US" smtClean="0"/>
              <a:t>38</a:t>
            </a:fld>
            <a:endParaRPr lang="en-US"/>
          </a:p>
        </p:txBody>
      </p:sp>
    </p:spTree>
    <p:extLst>
      <p:ext uri="{BB962C8B-B14F-4D97-AF65-F5344CB8AC3E}">
        <p14:creationId xmlns:p14="http://schemas.microsoft.com/office/powerpoint/2010/main" val="5066362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Model performance for randomly selected date</a:t>
            </a:r>
          </a:p>
        </p:txBody>
      </p:sp>
      <p:sp>
        <p:nvSpPr>
          <p:cNvPr id="4" name="Slide Number Placeholder 3"/>
          <p:cNvSpPr>
            <a:spLocks noGrp="1"/>
          </p:cNvSpPr>
          <p:nvPr>
            <p:ph type="sldNum" sz="quarter" idx="5"/>
          </p:nvPr>
        </p:nvSpPr>
        <p:spPr/>
        <p:txBody>
          <a:bodyPr/>
          <a:lstStyle/>
          <a:p>
            <a:fld id="{24D6B531-C8A2-4B0D-A016-A84599D65944}" type="slidenum">
              <a:rPr lang="en-US" smtClean="0"/>
              <a:t>41</a:t>
            </a:fld>
            <a:endParaRPr lang="en-US"/>
          </a:p>
        </p:txBody>
      </p:sp>
    </p:spTree>
    <p:extLst>
      <p:ext uri="{BB962C8B-B14F-4D97-AF65-F5344CB8AC3E}">
        <p14:creationId xmlns:p14="http://schemas.microsoft.com/office/powerpoint/2010/main" val="34036804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Let's focus on the resolution issue that I have been talking about. There are 2 sources of weather data in CSW.</a:t>
            </a:r>
          </a:p>
          <a:p>
            <a:pPr marL="171450" indent="-171450">
              <a:buFontTx/>
              <a:buChar char="-"/>
            </a:pPr>
            <a:r>
              <a:rPr lang="en-US" dirty="0"/>
              <a:t>First is ERA5 which is of low spatial resolution 28km but has extended temporal records at daily scale.</a:t>
            </a:r>
          </a:p>
          <a:p>
            <a:pPr marL="171450" indent="-171450">
              <a:buFontTx/>
              <a:buChar char="-"/>
            </a:pPr>
            <a:r>
              <a:rPr lang="en-US" dirty="0"/>
              <a:t>This is how the ERA5 spatial resolution look like for our study region: a part of Sacramento valley in California </a:t>
            </a:r>
          </a:p>
          <a:p>
            <a:pPr marL="171450" indent="-171450">
              <a:buFontTx/>
              <a:buChar char="-"/>
            </a:pPr>
            <a:r>
              <a:rPr lang="en-US" dirty="0"/>
              <a:t>Second, there is TWC datasets. The TWC historical weather datasets are of 4km spatial resolution and TWC high-resolution precipitation data is of 8km spatial resolution.</a:t>
            </a:r>
          </a:p>
          <a:p>
            <a:pPr marL="171450" indent="-171450">
              <a:buFontTx/>
              <a:buChar char="-"/>
            </a:pPr>
            <a:r>
              <a:rPr lang="en-US" dirty="0"/>
              <a:t>The TWC datasets are available for a short time frame at daily scale.</a:t>
            </a:r>
          </a:p>
          <a:p>
            <a:pPr marL="171450" indent="-171450">
              <a:buFontTx/>
              <a:buChar char="-"/>
            </a:pPr>
            <a:r>
              <a:rPr lang="en-US" dirty="0"/>
              <a:t>This is how the TWC spatial resolution looks like for our study area.</a:t>
            </a:r>
          </a:p>
          <a:p>
            <a:pPr marL="171450" indent="-171450">
              <a:buFontTx/>
              <a:buChar char="-"/>
            </a:pPr>
            <a:r>
              <a:rPr lang="en-US" dirty="0"/>
              <a:t>Our objective is to improve the resolution of ERA5 datasets to a resolution of 4km using a framework where ERA5 variables will be used as input variables and TWC datasets will be used as training data.</a:t>
            </a:r>
          </a:p>
          <a:p>
            <a:pPr marL="171450" indent="-171450">
              <a:buFontTx/>
              <a:buChar char="-"/>
            </a:pPr>
            <a:r>
              <a:rPr lang="en-US" dirty="0"/>
              <a:t>We are choosing 4km as the target resolution because the TWC weather datasets (except precipitation) are of 4km resolution.</a:t>
            </a:r>
          </a:p>
          <a:p>
            <a:pPr marL="171450" indent="-171450">
              <a:buFontTx/>
              <a:buChar char="-"/>
            </a:pPr>
            <a:endParaRPr lang="en-US" dirty="0"/>
          </a:p>
        </p:txBody>
      </p:sp>
      <p:sp>
        <p:nvSpPr>
          <p:cNvPr id="4" name="Slide Number Placeholder 3"/>
          <p:cNvSpPr>
            <a:spLocks noGrp="1"/>
          </p:cNvSpPr>
          <p:nvPr>
            <p:ph type="sldNum" sz="quarter" idx="5"/>
          </p:nvPr>
        </p:nvSpPr>
        <p:spPr/>
        <p:txBody>
          <a:bodyPr/>
          <a:lstStyle/>
          <a:p>
            <a:fld id="{24D6B531-C8A2-4B0D-A016-A84599D65944}" type="slidenum">
              <a:rPr lang="en-US" smtClean="0"/>
              <a:t>6</a:t>
            </a:fld>
            <a:endParaRPr lang="en-US"/>
          </a:p>
        </p:txBody>
      </p:sp>
    </p:spTree>
    <p:extLst>
      <p:ext uri="{BB962C8B-B14F-4D97-AF65-F5344CB8AC3E}">
        <p14:creationId xmlns:p14="http://schemas.microsoft.com/office/powerpoint/2010/main" val="1252905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Even though we build the framework for improving the datasets required for the Env Clustering Web App, it has other business impact.</a:t>
            </a:r>
          </a:p>
          <a:p>
            <a:pPr marL="0" indent="0">
              <a:buFontTx/>
              <a:buNone/>
            </a:pPr>
            <a:r>
              <a:rPr lang="en-US"/>
              <a:t>- The framework can be used for improving resolution of different variables and is scalable for any region. </a:t>
            </a:r>
          </a:p>
          <a:p>
            <a:pPr marL="0" indent="0">
              <a:buFontTx/>
              <a:buNone/>
            </a:pPr>
            <a:r>
              <a:rPr lang="en-US"/>
              <a:t>- In addition, the framework can be integrated to other environmental models, crop and disease models that require high-resolution weather data.</a:t>
            </a:r>
          </a:p>
          <a:p>
            <a:pPr marL="0" indent="0">
              <a:buFontTx/>
              <a:buNone/>
            </a:pPr>
            <a:r>
              <a:rPr lang="en-US"/>
              <a:t>- In summary, the framework has the potential to improve many models used across Bayer.</a:t>
            </a:r>
          </a:p>
        </p:txBody>
      </p:sp>
      <p:sp>
        <p:nvSpPr>
          <p:cNvPr id="4" name="Slide Number Placeholder 3"/>
          <p:cNvSpPr>
            <a:spLocks noGrp="1"/>
          </p:cNvSpPr>
          <p:nvPr>
            <p:ph type="sldNum" sz="quarter" idx="5"/>
          </p:nvPr>
        </p:nvSpPr>
        <p:spPr/>
        <p:txBody>
          <a:bodyPr/>
          <a:lstStyle/>
          <a:p>
            <a:fld id="{24D6B531-C8A2-4B0D-A016-A84599D65944}" type="slidenum">
              <a:rPr lang="en-US" smtClean="0"/>
              <a:t>7</a:t>
            </a:fld>
            <a:endParaRPr lang="en-US"/>
          </a:p>
        </p:txBody>
      </p:sp>
    </p:spTree>
    <p:extLst>
      <p:ext uri="{BB962C8B-B14F-4D97-AF65-F5344CB8AC3E}">
        <p14:creationId xmlns:p14="http://schemas.microsoft.com/office/powerpoint/2010/main" val="2018869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larify about ARD 4km and 100m. </a:t>
            </a:r>
          </a:p>
        </p:txBody>
      </p:sp>
      <p:sp>
        <p:nvSpPr>
          <p:cNvPr id="4" name="Slide Number Placeholder 3"/>
          <p:cNvSpPr>
            <a:spLocks noGrp="1"/>
          </p:cNvSpPr>
          <p:nvPr>
            <p:ph type="sldNum" sz="quarter" idx="5"/>
          </p:nvPr>
        </p:nvSpPr>
        <p:spPr/>
        <p:txBody>
          <a:bodyPr/>
          <a:lstStyle/>
          <a:p>
            <a:fld id="{24D6B531-C8A2-4B0D-A016-A84599D65944}" type="slidenum">
              <a:rPr lang="en-US" smtClean="0"/>
              <a:t>9</a:t>
            </a:fld>
            <a:endParaRPr lang="en-US"/>
          </a:p>
        </p:txBody>
      </p:sp>
    </p:spTree>
    <p:extLst>
      <p:ext uri="{BB962C8B-B14F-4D97-AF65-F5344CB8AC3E}">
        <p14:creationId xmlns:p14="http://schemas.microsoft.com/office/powerpoint/2010/main" val="42009709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chose these 6 variables for ML implementation because they have estimates available in TWC dataset which can be used as training data for the models.</a:t>
            </a:r>
          </a:p>
        </p:txBody>
      </p:sp>
      <p:sp>
        <p:nvSpPr>
          <p:cNvPr id="4" name="Slide Number Placeholder 3"/>
          <p:cNvSpPr>
            <a:spLocks noGrp="1"/>
          </p:cNvSpPr>
          <p:nvPr>
            <p:ph type="sldNum" sz="quarter" idx="5"/>
          </p:nvPr>
        </p:nvSpPr>
        <p:spPr/>
        <p:txBody>
          <a:bodyPr/>
          <a:lstStyle/>
          <a:p>
            <a:fld id="{24D6B531-C8A2-4B0D-A016-A84599D65944}" type="slidenum">
              <a:rPr lang="en-US" smtClean="0"/>
              <a:t>11</a:t>
            </a:fld>
            <a:endParaRPr lang="en-US"/>
          </a:p>
        </p:txBody>
      </p:sp>
    </p:spTree>
    <p:extLst>
      <p:ext uri="{BB962C8B-B14F-4D97-AF65-F5344CB8AC3E}">
        <p14:creationId xmlns:p14="http://schemas.microsoft.com/office/powerpoint/2010/main" val="37455746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lvl="1" indent="0">
              <a:lnSpc>
                <a:spcPct val="150000"/>
              </a:lnSpc>
              <a:buFont typeface="Courier New" panose="02070309020205020404" pitchFamily="49" charset="0"/>
              <a:buNone/>
            </a:pPr>
            <a:r>
              <a:rPr lang="en-US" dirty="0"/>
              <a:t>- Used a type of gradient Boosting type decision tree called GOSS.</a:t>
            </a:r>
          </a:p>
          <a:p>
            <a:pPr marL="457200" lvl="1" indent="0">
              <a:lnSpc>
                <a:spcPct val="150000"/>
              </a:lnSpc>
              <a:buFont typeface="Courier New" panose="02070309020205020404" pitchFamily="49" charset="0"/>
              <a:buNone/>
            </a:pPr>
            <a:r>
              <a:rPr lang="en-US" dirty="0"/>
              <a:t>	- uses the residuals of previous tree to improve results in the next tree. Finally gives the outputs when residuals </a:t>
            </a:r>
            <a:r>
              <a:rPr lang="en-US" dirty="0" err="1"/>
              <a:t>ane</a:t>
            </a:r>
            <a:r>
              <a:rPr lang="en-US" dirty="0"/>
              <a:t> minimized.</a:t>
            </a:r>
          </a:p>
          <a:p>
            <a:pPr marL="457200" lvl="1" indent="0">
              <a:lnSpc>
                <a:spcPct val="150000"/>
              </a:lnSpc>
              <a:buFont typeface="Courier New" panose="02070309020205020404" pitchFamily="49" charset="0"/>
              <a:buNone/>
            </a:pPr>
            <a:r>
              <a:rPr lang="en-US" dirty="0"/>
              <a:t>	- fast algorithm for large dataset</a:t>
            </a:r>
          </a:p>
          <a:p>
            <a:pPr marL="457200" lvl="1" indent="0">
              <a:lnSpc>
                <a:spcPct val="150000"/>
              </a:lnSpc>
              <a:buFont typeface="Courier New" panose="02070309020205020404" pitchFamily="49" charset="0"/>
              <a:buNone/>
            </a:pPr>
            <a:r>
              <a:rPr lang="en-US" dirty="0"/>
              <a:t>	- Minimal overfitting if tuned </a:t>
            </a:r>
          </a:p>
          <a:p>
            <a:pPr marL="457200" lvl="1" indent="0">
              <a:lnSpc>
                <a:spcPct val="150000"/>
              </a:lnSpc>
              <a:buFont typeface="Courier New" panose="02070309020205020404" pitchFamily="49" charset="0"/>
              <a:buNone/>
            </a:pPr>
            <a:endParaRPr lang="en-US" dirty="0"/>
          </a:p>
          <a:p>
            <a:pPr marL="628650" lvl="1" indent="-171450">
              <a:lnSpc>
                <a:spcPct val="150000"/>
              </a:lnSpc>
              <a:buFontTx/>
              <a:buChar char="-"/>
            </a:pPr>
            <a:r>
              <a:rPr lang="en-US" dirty="0"/>
              <a:t>We implemented DL is total precipitation model because there are many new studies based on DL</a:t>
            </a:r>
          </a:p>
          <a:p>
            <a:pPr marL="628650" lvl="1" indent="-171450">
              <a:lnSpc>
                <a:spcPct val="150000"/>
              </a:lnSpc>
              <a:buFontTx/>
              <a:buChar char="-"/>
            </a:pPr>
            <a:r>
              <a:rPr lang="en-US" dirty="0"/>
              <a:t>We implemented MLP for the precipitation model. The MLP has input layers (where we introduce the variables). The hidden layers is the architecture of the model which need to be figured out for achieving good performance, in the output layer we have the model results.</a:t>
            </a:r>
          </a:p>
        </p:txBody>
      </p:sp>
      <p:sp>
        <p:nvSpPr>
          <p:cNvPr id="4" name="Slide Number Placeholder 3"/>
          <p:cNvSpPr>
            <a:spLocks noGrp="1"/>
          </p:cNvSpPr>
          <p:nvPr>
            <p:ph type="sldNum" sz="quarter" idx="5"/>
          </p:nvPr>
        </p:nvSpPr>
        <p:spPr/>
        <p:txBody>
          <a:bodyPr/>
          <a:lstStyle/>
          <a:p>
            <a:fld id="{24D6B531-C8A2-4B0D-A016-A84599D65944}" type="slidenum">
              <a:rPr lang="en-US" smtClean="0"/>
              <a:t>12</a:t>
            </a:fld>
            <a:endParaRPr lang="en-US"/>
          </a:p>
        </p:txBody>
      </p:sp>
    </p:spTree>
    <p:extLst>
      <p:ext uri="{BB962C8B-B14F-4D97-AF65-F5344CB8AC3E}">
        <p14:creationId xmlns:p14="http://schemas.microsoft.com/office/powerpoint/2010/main" val="21615436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Bilinear resampling was used throughout the project as the resampling method.</a:t>
            </a:r>
          </a:p>
          <a:p>
            <a:endParaRPr lang="en-US"/>
          </a:p>
          <a:p>
            <a:endParaRPr lang="en-US"/>
          </a:p>
          <a:p>
            <a:r>
              <a:rPr lang="en-US"/>
              <a:t>- Also, Bilinear resampling was used to resample weather datasets which were not interpolated by Machine learning models from 28km to 4km resolution.</a:t>
            </a:r>
          </a:p>
        </p:txBody>
      </p:sp>
      <p:sp>
        <p:nvSpPr>
          <p:cNvPr id="4" name="Slide Number Placeholder 3"/>
          <p:cNvSpPr>
            <a:spLocks noGrp="1"/>
          </p:cNvSpPr>
          <p:nvPr>
            <p:ph type="sldNum" sz="quarter" idx="5"/>
          </p:nvPr>
        </p:nvSpPr>
        <p:spPr/>
        <p:txBody>
          <a:bodyPr/>
          <a:lstStyle/>
          <a:p>
            <a:fld id="{24D6B531-C8A2-4B0D-A016-A84599D65944}" type="slidenum">
              <a:rPr lang="en-US" smtClean="0"/>
              <a:t>13</a:t>
            </a:fld>
            <a:endParaRPr lang="en-US"/>
          </a:p>
        </p:txBody>
      </p:sp>
    </p:spTree>
    <p:extLst>
      <p:ext uri="{BB962C8B-B14F-4D97-AF65-F5344CB8AC3E}">
        <p14:creationId xmlns:p14="http://schemas.microsoft.com/office/powerpoint/2010/main" val="8143127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mphasize on Soil250 and Elevation Data.</a:t>
            </a:r>
          </a:p>
        </p:txBody>
      </p:sp>
      <p:sp>
        <p:nvSpPr>
          <p:cNvPr id="4" name="Slide Number Placeholder 3"/>
          <p:cNvSpPr>
            <a:spLocks noGrp="1"/>
          </p:cNvSpPr>
          <p:nvPr>
            <p:ph type="sldNum" sz="quarter" idx="5"/>
          </p:nvPr>
        </p:nvSpPr>
        <p:spPr/>
        <p:txBody>
          <a:bodyPr/>
          <a:lstStyle/>
          <a:p>
            <a:fld id="{24D6B531-C8A2-4B0D-A016-A84599D65944}" type="slidenum">
              <a:rPr lang="en-US" smtClean="0"/>
              <a:t>14</a:t>
            </a:fld>
            <a:endParaRPr lang="en-US"/>
          </a:p>
        </p:txBody>
      </p:sp>
    </p:spTree>
    <p:extLst>
      <p:ext uri="{BB962C8B-B14F-4D97-AF65-F5344CB8AC3E}">
        <p14:creationId xmlns:p14="http://schemas.microsoft.com/office/powerpoint/2010/main" val="19434343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wmf"/><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65AA5C-2492-16BE-FD18-1AD2C430601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9A02E48-8B60-5FDC-6A0E-E82BA883A51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CCE5CE4-B7F1-AC7B-9488-910F79710F9D}"/>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B26F9FA0-798A-7B32-F174-A259CF18296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B7E1B61-4B93-57CA-CC8A-ED83CC25736D}"/>
              </a:ext>
            </a:extLst>
          </p:cNvPr>
          <p:cNvSpPr>
            <a:spLocks noGrp="1"/>
          </p:cNvSpPr>
          <p:nvPr>
            <p:ph type="sldNum" sz="quarter" idx="12"/>
          </p:nvPr>
        </p:nvSpPr>
        <p:spPr/>
        <p:txBody>
          <a:bodyPr/>
          <a:lstStyle/>
          <a:p>
            <a:fld id="{77295556-0C65-44DB-A0B3-7C404E3ECCC3}" type="slidenum">
              <a:rPr lang="en-US" smtClean="0"/>
              <a:t>‹#›</a:t>
            </a:fld>
            <a:endParaRPr lang="en-US"/>
          </a:p>
        </p:txBody>
      </p:sp>
    </p:spTree>
    <p:extLst>
      <p:ext uri="{BB962C8B-B14F-4D97-AF65-F5344CB8AC3E}">
        <p14:creationId xmlns:p14="http://schemas.microsoft.com/office/powerpoint/2010/main" val="31982505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39F1CD-27CD-8982-81B8-A273B89A373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86399D6-D9D2-7519-ACAE-3BB4D5DA18F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62A9AD4-2C4D-F449-3D68-D6B518C318E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5D2BE66-2B3C-9B53-5D20-3B6EE9C035B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876A94E-DFC2-C399-0EC8-E1CAF89881F2}"/>
              </a:ext>
            </a:extLst>
          </p:cNvPr>
          <p:cNvSpPr>
            <a:spLocks noGrp="1"/>
          </p:cNvSpPr>
          <p:nvPr>
            <p:ph type="sldNum" sz="quarter" idx="12"/>
          </p:nvPr>
        </p:nvSpPr>
        <p:spPr/>
        <p:txBody>
          <a:bodyPr/>
          <a:lstStyle/>
          <a:p>
            <a:fld id="{77295556-0C65-44DB-A0B3-7C404E3ECCC3}" type="slidenum">
              <a:rPr lang="en-US" smtClean="0"/>
              <a:t>‹#›</a:t>
            </a:fld>
            <a:endParaRPr lang="en-US"/>
          </a:p>
        </p:txBody>
      </p:sp>
    </p:spTree>
    <p:extLst>
      <p:ext uri="{BB962C8B-B14F-4D97-AF65-F5344CB8AC3E}">
        <p14:creationId xmlns:p14="http://schemas.microsoft.com/office/powerpoint/2010/main" val="18430735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37424FD-0868-2FC3-8577-90450EC7958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4BC718C-F7CF-E6B0-5B82-208FE01119E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68F09-423B-8A65-6AA7-BBF3AE182944}"/>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29AB7815-AB04-4F03-9D28-E5824BFE9B1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8AD775F-8B08-A3C5-4F9E-07806E512E12}"/>
              </a:ext>
            </a:extLst>
          </p:cNvPr>
          <p:cNvSpPr>
            <a:spLocks noGrp="1"/>
          </p:cNvSpPr>
          <p:nvPr>
            <p:ph type="sldNum" sz="quarter" idx="12"/>
          </p:nvPr>
        </p:nvSpPr>
        <p:spPr/>
        <p:txBody>
          <a:bodyPr/>
          <a:lstStyle/>
          <a:p>
            <a:fld id="{77295556-0C65-44DB-A0B3-7C404E3ECCC3}" type="slidenum">
              <a:rPr lang="en-US" smtClean="0"/>
              <a:t>‹#›</a:t>
            </a:fld>
            <a:endParaRPr lang="en-US"/>
          </a:p>
        </p:txBody>
      </p:sp>
    </p:spTree>
    <p:extLst>
      <p:ext uri="{BB962C8B-B14F-4D97-AF65-F5344CB8AC3E}">
        <p14:creationId xmlns:p14="http://schemas.microsoft.com/office/powerpoint/2010/main" val="8414470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bwMode="gray">
          <a:xfrm>
            <a:off x="0" y="0"/>
            <a:ext cx="158771"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800" b="0" i="0" baseline="0">
              <a:latin typeface="Arial"/>
              <a:ea typeface="Arial Unicode MS"/>
              <a:cs typeface="Arial"/>
              <a:sym typeface="Arial"/>
            </a:endParaRPr>
          </a:p>
        </p:txBody>
      </p:sp>
      <p:sp>
        <p:nvSpPr>
          <p:cNvPr id="2" name="Title 1"/>
          <p:cNvSpPr>
            <a:spLocks noGrp="1"/>
          </p:cNvSpPr>
          <p:nvPr>
            <p:ph type="title"/>
          </p:nvPr>
        </p:nvSpPr>
        <p:spPr bwMode="gray"/>
        <p:txBody>
          <a:bodyPr/>
          <a:lstStyle/>
          <a:p>
            <a:r>
              <a:rPr lang="en-US" noProof="0"/>
              <a:t>Click to edit Master title style</a:t>
            </a:r>
          </a:p>
        </p:txBody>
      </p:sp>
      <p:sp>
        <p:nvSpPr>
          <p:cNvPr id="4" name="Date Placeholder 3"/>
          <p:cNvSpPr>
            <a:spLocks noGrp="1"/>
          </p:cNvSpPr>
          <p:nvPr>
            <p:ph type="dt" sz="half" idx="10"/>
          </p:nvPr>
        </p:nvSpPr>
        <p:spPr bwMode="gray">
          <a:xfrm>
            <a:off x="3739341" y="6484751"/>
            <a:ext cx="2743200" cy="365125"/>
          </a:xfrm>
        </p:spPr>
        <p:txBody>
          <a:bodyPr/>
          <a:lstStyle/>
          <a:p>
            <a:endParaRPr lang="en-US" noProof="0"/>
          </a:p>
        </p:txBody>
      </p:sp>
      <p:sp>
        <p:nvSpPr>
          <p:cNvPr id="6" name="Slide Number Placeholder 5"/>
          <p:cNvSpPr>
            <a:spLocks noGrp="1"/>
          </p:cNvSpPr>
          <p:nvPr>
            <p:ph type="sldNum" sz="quarter" idx="12"/>
          </p:nvPr>
        </p:nvSpPr>
        <p:spPr bwMode="gray">
          <a:xfrm>
            <a:off x="196044" y="6484750"/>
            <a:ext cx="2743200" cy="365125"/>
          </a:xfrm>
        </p:spPr>
        <p:txBody>
          <a:bodyPr/>
          <a:lstStyle>
            <a:lvl1pPr algn="l">
              <a:defRPr sz="1400" b="1"/>
            </a:lvl1pPr>
          </a:lstStyle>
          <a:p>
            <a:fld id="{EEAD9179-7A6B-4268-BEB2-F3B8EB06115B}" type="slidenum">
              <a:rPr lang="en-US" smtClean="0"/>
              <a:pPr/>
              <a:t>‹#›</a:t>
            </a:fld>
            <a:endParaRPr lang="en-US"/>
          </a:p>
        </p:txBody>
      </p:sp>
      <p:sp>
        <p:nvSpPr>
          <p:cNvPr id="11" name="Text Placeholder 10"/>
          <p:cNvSpPr>
            <a:spLocks noGrp="1"/>
          </p:cNvSpPr>
          <p:nvPr>
            <p:ph type="body" sz="quarter" idx="14"/>
          </p:nvPr>
        </p:nvSpPr>
        <p:spPr bwMode="gray">
          <a:xfrm>
            <a:off x="980409" y="1732751"/>
            <a:ext cx="10801406" cy="4752000"/>
          </a:xfrm>
        </p:spPr>
        <p:txBody>
          <a:bodyPr lIns="72000" rIns="72000"/>
          <a:lstStyle>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9" name="Picture 2" descr="\\nas-mainz\Projekte_vertraulich\Bayer\17-0612_Fischer_CI-Redesign\vom Kunden\Bayer_Cross_2017_on-Screen_RGB_170630.wmf"/>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gray">
          <a:xfrm>
            <a:off x="196044" y="617155"/>
            <a:ext cx="399825"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99808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C0001F-28F8-27EA-22E4-4CD06ACA23E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0693BF2-D865-EFC2-3EC3-BD0543C77C4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6355E67-3AB7-06B8-D680-48030BA3099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19CBE9A0-C64A-A7B6-7FA6-DC2259050CE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E334CFE-EC93-7C4B-0A6A-A79563AE3B90}"/>
              </a:ext>
            </a:extLst>
          </p:cNvPr>
          <p:cNvSpPr>
            <a:spLocks noGrp="1"/>
          </p:cNvSpPr>
          <p:nvPr>
            <p:ph type="sldNum" sz="quarter" idx="12"/>
          </p:nvPr>
        </p:nvSpPr>
        <p:spPr/>
        <p:txBody>
          <a:bodyPr/>
          <a:lstStyle/>
          <a:p>
            <a:fld id="{77295556-0C65-44DB-A0B3-7C404E3ECCC3}" type="slidenum">
              <a:rPr lang="en-US" smtClean="0"/>
              <a:t>‹#›</a:t>
            </a:fld>
            <a:endParaRPr lang="en-US"/>
          </a:p>
        </p:txBody>
      </p:sp>
    </p:spTree>
    <p:extLst>
      <p:ext uri="{BB962C8B-B14F-4D97-AF65-F5344CB8AC3E}">
        <p14:creationId xmlns:p14="http://schemas.microsoft.com/office/powerpoint/2010/main" val="19132670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1B530B-9866-D9B0-17B1-F1B3F308149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B076C32-2B0E-DC25-DC73-9D9980E4049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E461245-A038-667C-21A9-EB38B60C1718}"/>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937F57A5-039D-1380-C348-0D14342C986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1AD113-7221-344E-B2D0-DD6796D20C37}"/>
              </a:ext>
            </a:extLst>
          </p:cNvPr>
          <p:cNvSpPr>
            <a:spLocks noGrp="1"/>
          </p:cNvSpPr>
          <p:nvPr>
            <p:ph type="sldNum" sz="quarter" idx="12"/>
          </p:nvPr>
        </p:nvSpPr>
        <p:spPr/>
        <p:txBody>
          <a:bodyPr/>
          <a:lstStyle/>
          <a:p>
            <a:fld id="{77295556-0C65-44DB-A0B3-7C404E3ECCC3}" type="slidenum">
              <a:rPr lang="en-US" smtClean="0"/>
              <a:t>‹#›</a:t>
            </a:fld>
            <a:endParaRPr lang="en-US"/>
          </a:p>
        </p:txBody>
      </p:sp>
    </p:spTree>
    <p:extLst>
      <p:ext uri="{BB962C8B-B14F-4D97-AF65-F5344CB8AC3E}">
        <p14:creationId xmlns:p14="http://schemas.microsoft.com/office/powerpoint/2010/main" val="20268132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3F7B07-63F4-9FF5-EA71-811AA60FED7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6099ADC-7A4A-9D05-26D8-56D12B5DF0A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35E03CA-0DF3-7D3F-A9BF-281E23D0AE0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19012FC-25A6-28AF-0E98-CC829FDD9DFA}"/>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37C21DBA-BEF6-AB97-CC1C-7633348236B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24DD835-0F7E-6A24-96D9-30F2A34F9244}"/>
              </a:ext>
            </a:extLst>
          </p:cNvPr>
          <p:cNvSpPr>
            <a:spLocks noGrp="1"/>
          </p:cNvSpPr>
          <p:nvPr>
            <p:ph type="sldNum" sz="quarter" idx="12"/>
          </p:nvPr>
        </p:nvSpPr>
        <p:spPr/>
        <p:txBody>
          <a:bodyPr/>
          <a:lstStyle/>
          <a:p>
            <a:fld id="{77295556-0C65-44DB-A0B3-7C404E3ECCC3}" type="slidenum">
              <a:rPr lang="en-US" smtClean="0"/>
              <a:t>‹#›</a:t>
            </a:fld>
            <a:endParaRPr lang="en-US"/>
          </a:p>
        </p:txBody>
      </p:sp>
    </p:spTree>
    <p:extLst>
      <p:ext uri="{BB962C8B-B14F-4D97-AF65-F5344CB8AC3E}">
        <p14:creationId xmlns:p14="http://schemas.microsoft.com/office/powerpoint/2010/main" val="42010561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5E3174-73F5-83D5-0814-4A1C9478979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818404F-C460-8D8A-BAD1-B02255F71BC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41C806A-BBA9-483F-5410-C5B87BE3CB6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CADC2B6-63F3-D17B-3120-40ECB860E85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520821A-EC1C-493C-996F-FD0ED0BA76C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B01361D-DA7A-11BC-3273-80B77DBE06B0}"/>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93AF8664-DDCB-F02C-32EC-80FE850162E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61FD556-0706-B695-3F10-BAD2F0D7EF4B}"/>
              </a:ext>
            </a:extLst>
          </p:cNvPr>
          <p:cNvSpPr>
            <a:spLocks noGrp="1"/>
          </p:cNvSpPr>
          <p:nvPr>
            <p:ph type="sldNum" sz="quarter" idx="12"/>
          </p:nvPr>
        </p:nvSpPr>
        <p:spPr/>
        <p:txBody>
          <a:bodyPr/>
          <a:lstStyle/>
          <a:p>
            <a:fld id="{77295556-0C65-44DB-A0B3-7C404E3ECCC3}" type="slidenum">
              <a:rPr lang="en-US" smtClean="0"/>
              <a:t>‹#›</a:t>
            </a:fld>
            <a:endParaRPr lang="en-US"/>
          </a:p>
        </p:txBody>
      </p:sp>
    </p:spTree>
    <p:extLst>
      <p:ext uri="{BB962C8B-B14F-4D97-AF65-F5344CB8AC3E}">
        <p14:creationId xmlns:p14="http://schemas.microsoft.com/office/powerpoint/2010/main" val="29789058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9E8DAD-12E9-3D42-E699-4E31472A292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689155F-30A9-62D4-C337-FE4F69DCCB9E}"/>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125FC5B3-3BED-4D7F-C848-95A95D4872E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E33E9BE-E841-2708-C281-5DEB7FE85B76}"/>
              </a:ext>
            </a:extLst>
          </p:cNvPr>
          <p:cNvSpPr>
            <a:spLocks noGrp="1"/>
          </p:cNvSpPr>
          <p:nvPr>
            <p:ph type="sldNum" sz="quarter" idx="12"/>
          </p:nvPr>
        </p:nvSpPr>
        <p:spPr/>
        <p:txBody>
          <a:bodyPr/>
          <a:lstStyle/>
          <a:p>
            <a:fld id="{77295556-0C65-44DB-A0B3-7C404E3ECCC3}" type="slidenum">
              <a:rPr lang="en-US" smtClean="0"/>
              <a:t>‹#›</a:t>
            </a:fld>
            <a:endParaRPr lang="en-US"/>
          </a:p>
        </p:txBody>
      </p:sp>
    </p:spTree>
    <p:extLst>
      <p:ext uri="{BB962C8B-B14F-4D97-AF65-F5344CB8AC3E}">
        <p14:creationId xmlns:p14="http://schemas.microsoft.com/office/powerpoint/2010/main" val="23802506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2F8685E-428C-A75B-1BFA-517DF1B816C1}"/>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C2E03026-D856-39B5-DEAD-273FCCF2CB3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30D7F60-C951-8E8A-28D3-72299B1D9C0F}"/>
              </a:ext>
            </a:extLst>
          </p:cNvPr>
          <p:cNvSpPr>
            <a:spLocks noGrp="1"/>
          </p:cNvSpPr>
          <p:nvPr>
            <p:ph type="sldNum" sz="quarter" idx="12"/>
          </p:nvPr>
        </p:nvSpPr>
        <p:spPr/>
        <p:txBody>
          <a:bodyPr/>
          <a:lstStyle/>
          <a:p>
            <a:fld id="{77295556-0C65-44DB-A0B3-7C404E3ECCC3}" type="slidenum">
              <a:rPr lang="en-US" smtClean="0"/>
              <a:t>‹#›</a:t>
            </a:fld>
            <a:endParaRPr lang="en-US"/>
          </a:p>
        </p:txBody>
      </p:sp>
    </p:spTree>
    <p:extLst>
      <p:ext uri="{BB962C8B-B14F-4D97-AF65-F5344CB8AC3E}">
        <p14:creationId xmlns:p14="http://schemas.microsoft.com/office/powerpoint/2010/main" val="23508334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E236B4-38DB-4346-3E0A-9D486B75E7E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4378A1C-4B4C-8DC0-4CA9-FDBF0F1A39C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AC99AD1-A7D4-A312-B58C-659759641EC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077FE55-F29E-47BE-5A34-3C7D9E70D73A}"/>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C7324835-BEDA-24CC-5A24-857A30E0D0A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B435673-D176-C841-EF0C-6AA730A96439}"/>
              </a:ext>
            </a:extLst>
          </p:cNvPr>
          <p:cNvSpPr>
            <a:spLocks noGrp="1"/>
          </p:cNvSpPr>
          <p:nvPr>
            <p:ph type="sldNum" sz="quarter" idx="12"/>
          </p:nvPr>
        </p:nvSpPr>
        <p:spPr/>
        <p:txBody>
          <a:bodyPr/>
          <a:lstStyle/>
          <a:p>
            <a:fld id="{77295556-0C65-44DB-A0B3-7C404E3ECCC3}" type="slidenum">
              <a:rPr lang="en-US" smtClean="0"/>
              <a:t>‹#›</a:t>
            </a:fld>
            <a:endParaRPr lang="en-US"/>
          </a:p>
        </p:txBody>
      </p:sp>
    </p:spTree>
    <p:extLst>
      <p:ext uri="{BB962C8B-B14F-4D97-AF65-F5344CB8AC3E}">
        <p14:creationId xmlns:p14="http://schemas.microsoft.com/office/powerpoint/2010/main" val="31351401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F96F53-64AD-3E7B-5D90-948EF9660A2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7D653C3-322D-4C2B-B269-3C0EB76B6D6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510C3C4-5C79-C99F-783C-47D10E109BA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DCFBCC1-7300-6F2F-D967-5129A421473F}"/>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92B2B49D-2870-ACD3-B048-9F16AC1D4DB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E52EDD3-7217-8F77-A29E-5C46DB380269}"/>
              </a:ext>
            </a:extLst>
          </p:cNvPr>
          <p:cNvSpPr>
            <a:spLocks noGrp="1"/>
          </p:cNvSpPr>
          <p:nvPr>
            <p:ph type="sldNum" sz="quarter" idx="12"/>
          </p:nvPr>
        </p:nvSpPr>
        <p:spPr/>
        <p:txBody>
          <a:bodyPr/>
          <a:lstStyle/>
          <a:p>
            <a:fld id="{77295556-0C65-44DB-A0B3-7C404E3ECCC3}" type="slidenum">
              <a:rPr lang="en-US" smtClean="0"/>
              <a:t>‹#›</a:t>
            </a:fld>
            <a:endParaRPr lang="en-US"/>
          </a:p>
        </p:txBody>
      </p:sp>
    </p:spTree>
    <p:extLst>
      <p:ext uri="{BB962C8B-B14F-4D97-AF65-F5344CB8AC3E}">
        <p14:creationId xmlns:p14="http://schemas.microsoft.com/office/powerpoint/2010/main" val="41881626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DF114E-7D5F-A103-0B72-F562E173BEF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7C17666-41C1-6174-0017-935298E6F4D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5E2A2FA-696A-D205-173A-62161B6EBD1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F6A24E92-2A3E-F8EC-68CF-4B2703BB78F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D04FB5E-0AA1-A137-47B2-5D76F93E3C9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7295556-0C65-44DB-A0B3-7C404E3ECCC3}" type="slidenum">
              <a:rPr lang="en-US" smtClean="0"/>
              <a:t>‹#›</a:t>
            </a:fld>
            <a:endParaRPr lang="en-US"/>
          </a:p>
        </p:txBody>
      </p:sp>
      <p:sp>
        <p:nvSpPr>
          <p:cNvPr id="8" name="TextBox 7">
            <a:extLst>
              <a:ext uri="{FF2B5EF4-FFF2-40B4-BE49-F238E27FC236}">
                <a16:creationId xmlns:a16="http://schemas.microsoft.com/office/drawing/2014/main" id="{03E95661-7743-F296-1F96-72676123408F}"/>
              </a:ext>
            </a:extLst>
          </p:cNvPr>
          <p:cNvSpPr txBox="1"/>
          <p:nvPr userDrawn="1">
            <p:extLst>
              <p:ext uri="{1162E1C5-73C7-4A58-AE30-91384D911F3F}">
                <p184:classification xmlns:p184="http://schemas.microsoft.com/office/powerpoint/2018/4/main" val="ftr"/>
              </p:ext>
            </p:extLst>
          </p:nvPr>
        </p:nvSpPr>
        <p:spPr>
          <a:xfrm>
            <a:off x="10821988" y="6522720"/>
            <a:ext cx="1433512" cy="335280"/>
          </a:xfrm>
          <a:prstGeom prst="rect">
            <a:avLst/>
          </a:prstGeom>
        </p:spPr>
        <p:txBody>
          <a:bodyPr horzOverflow="overflow" lIns="0" tIns="0" rIns="0" bIns="0">
            <a:spAutoFit/>
          </a:bodyPr>
          <a:lstStyle/>
          <a:p>
            <a:pPr algn="l"/>
            <a:r>
              <a:rPr lang="en-US" sz="2200">
                <a:solidFill>
                  <a:srgbClr val="FF8939"/>
                </a:solidFill>
                <a:latin typeface="Calibri" panose="020F0502020204030204" pitchFamily="34" charset="0"/>
                <a:cs typeface="Calibri" panose="020F0502020204030204" pitchFamily="34" charset="0"/>
              </a:rPr>
              <a:t>RESTRICTED</a:t>
            </a:r>
          </a:p>
        </p:txBody>
      </p:sp>
    </p:spTree>
    <p:extLst>
      <p:ext uri="{BB962C8B-B14F-4D97-AF65-F5344CB8AC3E}">
        <p14:creationId xmlns:p14="http://schemas.microsoft.com/office/powerpoint/2010/main" val="504622474"/>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hyperlink" Target="https://www.javatpoint.com/multi-layer-perceptron-in-tensorflow" TargetMode="External"/><Relationship Id="rId5" Type="http://schemas.openxmlformats.org/officeDocument/2006/relationships/hyperlink" Target="https://www.researchgate.net/publication/345327934/figure/fig3/AS:1022810793209856@1620868504478/Flow-chart-of-XGBoost.png" TargetMode="External"/><Relationship Id="rId4" Type="http://schemas.openxmlformats.org/officeDocument/2006/relationships/image" Target="../media/image11.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12.xml"/><Relationship Id="rId5" Type="http://schemas.openxmlformats.org/officeDocument/2006/relationships/image" Target="../media/image14.png"/><Relationship Id="rId4" Type="http://schemas.openxmlformats.org/officeDocument/2006/relationships/image" Target="../media/image13.png"/></Relationships>
</file>

<file path=ppt/slides/_rels/slide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1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5.xml"/><Relationship Id="rId1" Type="http://schemas.openxmlformats.org/officeDocument/2006/relationships/slideLayout" Target="../slideLayouts/slideLayout12.xml"/><Relationship Id="rId5" Type="http://schemas.openxmlformats.org/officeDocument/2006/relationships/image" Target="../media/image23.png"/><Relationship Id="rId4" Type="http://schemas.openxmlformats.org/officeDocument/2006/relationships/image" Target="../media/image22.png"/></Relationships>
</file>

<file path=ppt/slides/_rels/slide2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8.xml"/><Relationship Id="rId1" Type="http://schemas.openxmlformats.org/officeDocument/2006/relationships/slideLayout" Target="../slideLayouts/slideLayout12.xml"/><Relationship Id="rId5" Type="http://schemas.openxmlformats.org/officeDocument/2006/relationships/image" Target="../media/image28.png"/><Relationship Id="rId4" Type="http://schemas.openxmlformats.org/officeDocument/2006/relationships/image" Target="../media/image27.png"/></Relationships>
</file>

<file path=ppt/slides/_rels/slide2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9.xml"/><Relationship Id="rId1" Type="http://schemas.openxmlformats.org/officeDocument/2006/relationships/slideLayout" Target="../slideLayouts/slideLayout12.xml"/><Relationship Id="rId5" Type="http://schemas.openxmlformats.org/officeDocument/2006/relationships/image" Target="../media/image28.png"/><Relationship Id="rId4" Type="http://schemas.openxmlformats.org/officeDocument/2006/relationships/image" Target="../media/image30.png"/></Relationships>
</file>

<file path=ppt/slides/_rels/slide2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3.png"/><Relationship Id="rId7" Type="http://schemas.openxmlformats.org/officeDocument/2006/relationships/image" Target="../media/image36.png"/><Relationship Id="rId12" Type="http://schemas.openxmlformats.org/officeDocument/2006/relationships/image" Target="../media/image41.png"/><Relationship Id="rId2" Type="http://schemas.openxmlformats.org/officeDocument/2006/relationships/notesSlide" Target="../notesSlides/notesSlide22.xml"/><Relationship Id="rId1" Type="http://schemas.openxmlformats.org/officeDocument/2006/relationships/slideLayout" Target="../slideLayouts/slideLayout12.x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image" Target="../media/image34.png"/><Relationship Id="rId10" Type="http://schemas.openxmlformats.org/officeDocument/2006/relationships/image" Target="../media/image39.png"/><Relationship Id="rId4" Type="http://schemas.openxmlformats.org/officeDocument/2006/relationships/image" Target="../media/image20.png"/><Relationship Id="rId9" Type="http://schemas.openxmlformats.org/officeDocument/2006/relationships/image" Target="../media/image38.png"/></Relationships>
</file>

<file path=ppt/slides/_rels/slide3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3.xml"/><Relationship Id="rId1" Type="http://schemas.openxmlformats.org/officeDocument/2006/relationships/slideLayout" Target="../slideLayouts/slideLayout12.xml"/><Relationship Id="rId4" Type="http://schemas.openxmlformats.org/officeDocument/2006/relationships/image" Target="../media/image43.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5.xml"/><Relationship Id="rId1" Type="http://schemas.openxmlformats.org/officeDocument/2006/relationships/slideLayout" Target="../slideLayouts/slideLayout12.xml"/><Relationship Id="rId5" Type="http://schemas.openxmlformats.org/officeDocument/2006/relationships/image" Target="../media/image46.png"/><Relationship Id="rId4" Type="http://schemas.openxmlformats.org/officeDocument/2006/relationships/image" Target="../media/image45.png"/></Relationships>
</file>

<file path=ppt/slides/_rels/slide3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6.xml"/><Relationship Id="rId1" Type="http://schemas.openxmlformats.org/officeDocument/2006/relationships/slideLayout" Target="../slideLayouts/slideLayout12.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3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21.png"/><Relationship Id="rId1" Type="http://schemas.openxmlformats.org/officeDocument/2006/relationships/slideLayout" Target="../slideLayouts/slideLayout12.xml"/><Relationship Id="rId6" Type="http://schemas.openxmlformats.org/officeDocument/2006/relationships/image" Target="../media/image22.png"/><Relationship Id="rId5" Type="http://schemas.openxmlformats.org/officeDocument/2006/relationships/image" Target="../media/image54.png"/><Relationship Id="rId4" Type="http://schemas.openxmlformats.org/officeDocument/2006/relationships/image" Target="../media/image53.png"/></Relationships>
</file>

<file path=ppt/slides/_rels/slide4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8.xml"/><Relationship Id="rId1" Type="http://schemas.openxmlformats.org/officeDocument/2006/relationships/slideLayout" Target="../slideLayouts/slideLayout12.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2" Type="http://schemas.microsoft.com/office/2018/10/relationships/comments" Target="../comments/modernComment_7FF646BF_5A9266E0.xml"/><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hyperlink" Target="https://proceedings.neurips.cc/paper_files/paper/2017/file/6449f44a102fde848669bdd9eb6b76fa-Paper.pdf" TargetMode="External"/><Relationship Id="rId1" Type="http://schemas.openxmlformats.org/officeDocument/2006/relationships/slideLayout" Target="../slideLayouts/slideLayout12.xml"/><Relationship Id="rId6" Type="http://schemas.openxmlformats.org/officeDocument/2006/relationships/hyperlink" Target="https://www.analyticsvidhya.com/blog/2021/10/an-introduction-to-random-forest-algorithm-for-beginners/" TargetMode="External"/><Relationship Id="rId5" Type="http://schemas.openxmlformats.org/officeDocument/2006/relationships/hyperlink" Target="https://towardsdatascience.com/boosting-showdown-scikit-learn-vs-xgboost-vs-lightgbm-vs-catboost-in-sentiment-classification-f7c7f46fd956" TargetMode="External"/><Relationship Id="rId4" Type="http://schemas.openxmlformats.org/officeDocument/2006/relationships/hyperlink" Target="https://lightgbm.readthedocs.io/en/stable/" TargetMode="External"/></Relationships>
</file>

<file path=ppt/slides/_rels/slide5.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6.png"/><Relationship Id="rId7" Type="http://schemas.openxmlformats.org/officeDocument/2006/relationships/diagramColors" Target="../diagrams/colors1.xml"/><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6.xml.rels><?xml version="1.0" encoding="UTF-8" standalone="yes"?>
<Relationships xmlns="http://schemas.openxmlformats.org/package/2006/relationships"><Relationship Id="rId3" Type="http://schemas.microsoft.com/office/2018/10/relationships/comments" Target="../comments/modernComment_7FF646B1_1003DBE4.xml"/><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8" Type="http://schemas.microsoft.com/office/2007/relationships/diagramDrawing" Target="../diagrams/drawing2.xml"/><Relationship Id="rId3" Type="http://schemas.microsoft.com/office/2018/10/relationships/comments" Target="../comments/modernComment_7FF646C8_7A85E3D2.xml"/><Relationship Id="rId7" Type="http://schemas.openxmlformats.org/officeDocument/2006/relationships/diagramColors" Target="../diagrams/colors2.xml"/><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 Id="rId9" Type="http://schemas.openxmlformats.org/officeDocument/2006/relationships/image" Target="../media/image3.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86BA84-DCD5-9E45-57C1-47E4B920DEDD}"/>
              </a:ext>
            </a:extLst>
          </p:cNvPr>
          <p:cNvSpPr>
            <a:spLocks noGrp="1"/>
          </p:cNvSpPr>
          <p:nvPr>
            <p:ph type="ctrTitle"/>
          </p:nvPr>
        </p:nvSpPr>
        <p:spPr>
          <a:xfrm>
            <a:off x="661993" y="597900"/>
            <a:ext cx="4144900" cy="2728681"/>
          </a:xfrm>
        </p:spPr>
        <p:txBody>
          <a:bodyPr>
            <a:normAutofit/>
          </a:bodyPr>
          <a:lstStyle/>
          <a:p>
            <a:r>
              <a:rPr lang="en-US" sz="3100" i="1">
                <a:solidFill>
                  <a:srgbClr val="10384F"/>
                </a:solidFill>
                <a:effectLst/>
                <a:latin typeface="Century Gothic" panose="020B0502020202020204" pitchFamily="34" charset="0"/>
              </a:rPr>
              <a:t>Applications of Machine Learning in Improving Spatial Resolution of Modeled Weather Datasets </a:t>
            </a:r>
            <a:endParaRPr lang="en-US" sz="3100" i="1">
              <a:solidFill>
                <a:srgbClr val="10384F"/>
              </a:solidFill>
              <a:latin typeface="Century Gothic" panose="020B0502020202020204" pitchFamily="34" charset="0"/>
            </a:endParaRPr>
          </a:p>
        </p:txBody>
      </p:sp>
      <p:sp>
        <p:nvSpPr>
          <p:cNvPr id="3" name="Subtitle 2">
            <a:extLst>
              <a:ext uri="{FF2B5EF4-FFF2-40B4-BE49-F238E27FC236}">
                <a16:creationId xmlns:a16="http://schemas.microsoft.com/office/drawing/2014/main" id="{38F72305-8CA3-1450-F878-0014A899FB3E}"/>
              </a:ext>
            </a:extLst>
          </p:cNvPr>
          <p:cNvSpPr>
            <a:spLocks noGrp="1"/>
          </p:cNvSpPr>
          <p:nvPr>
            <p:ph type="subTitle" idx="1"/>
          </p:nvPr>
        </p:nvSpPr>
        <p:spPr>
          <a:xfrm>
            <a:off x="1046621" y="4523869"/>
            <a:ext cx="3125337" cy="1136843"/>
          </a:xfrm>
        </p:spPr>
        <p:txBody>
          <a:bodyPr>
            <a:normAutofit/>
          </a:bodyPr>
          <a:lstStyle/>
          <a:p>
            <a:r>
              <a:rPr lang="en-US" sz="1800" b="1"/>
              <a:t>Md Fahim Hasan</a:t>
            </a:r>
          </a:p>
          <a:p>
            <a:r>
              <a:rPr lang="en-US" sz="1800"/>
              <a:t>Global Vegetable Phenotyping</a:t>
            </a:r>
          </a:p>
          <a:p>
            <a:r>
              <a:rPr lang="en-US" sz="1800"/>
              <a:t>Vegetable R&amp;D APD Intern</a:t>
            </a:r>
          </a:p>
        </p:txBody>
      </p:sp>
      <p:pic>
        <p:nvPicPr>
          <p:cNvPr id="4" name="Picture 3" descr="A picture containing circle, graphics, font, symbol&#10;&#10;Description automatically generated">
            <a:extLst>
              <a:ext uri="{FF2B5EF4-FFF2-40B4-BE49-F238E27FC236}">
                <a16:creationId xmlns:a16="http://schemas.microsoft.com/office/drawing/2014/main" id="{89D577D2-D5F0-BCAC-5B1D-9DBE5C9E47F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94515" y="1135304"/>
            <a:ext cx="3956987" cy="3956987"/>
          </a:xfrm>
          <a:prstGeom prst="rect">
            <a:avLst/>
          </a:prstGeom>
        </p:spPr>
      </p:pic>
      <p:sp>
        <p:nvSpPr>
          <p:cNvPr id="5" name="Subtitle 2">
            <a:extLst>
              <a:ext uri="{FF2B5EF4-FFF2-40B4-BE49-F238E27FC236}">
                <a16:creationId xmlns:a16="http://schemas.microsoft.com/office/drawing/2014/main" id="{86E3427F-CEA6-580F-2887-D38E7EF0BF56}"/>
              </a:ext>
            </a:extLst>
          </p:cNvPr>
          <p:cNvSpPr txBox="1">
            <a:spLocks/>
          </p:cNvSpPr>
          <p:nvPr/>
        </p:nvSpPr>
        <p:spPr>
          <a:xfrm>
            <a:off x="1715347" y="6089842"/>
            <a:ext cx="1708064" cy="340515"/>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1800" dirty="0"/>
              <a:t>28 July 2023</a:t>
            </a:r>
          </a:p>
        </p:txBody>
      </p:sp>
      <p:cxnSp>
        <p:nvCxnSpPr>
          <p:cNvPr id="7" name="Straight Connector 6">
            <a:extLst>
              <a:ext uri="{FF2B5EF4-FFF2-40B4-BE49-F238E27FC236}">
                <a16:creationId xmlns:a16="http://schemas.microsoft.com/office/drawing/2014/main" id="{B26CD7DE-8844-25E4-E55D-B5BB8971A186}"/>
              </a:ext>
            </a:extLst>
          </p:cNvPr>
          <p:cNvCxnSpPr>
            <a:cxnSpLocks/>
          </p:cNvCxnSpPr>
          <p:nvPr/>
        </p:nvCxnSpPr>
        <p:spPr>
          <a:xfrm>
            <a:off x="1046621" y="5922629"/>
            <a:ext cx="3045516" cy="0"/>
          </a:xfrm>
          <a:prstGeom prst="line">
            <a:avLst/>
          </a:prstGeom>
          <a:ln w="28575"/>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057978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1060582" y="443283"/>
            <a:ext cx="9144000" cy="7316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i="1" u="sng">
                <a:solidFill>
                  <a:schemeClr val="accent1">
                    <a:lumMod val="50000"/>
                  </a:schemeClr>
                </a:solidFill>
                <a:latin typeface="Calibri Light" panose="020F0302020204030204" pitchFamily="34" charset="0"/>
              </a:rPr>
              <a:t>Datasets in ARD</a:t>
            </a:r>
            <a:endParaRPr lang="en-US" sz="4000" i="1" u="sng">
              <a:solidFill>
                <a:schemeClr val="accent1">
                  <a:lumMod val="50000"/>
                </a:schemeClr>
              </a:solidFill>
            </a:endParaRPr>
          </a:p>
        </p:txBody>
      </p:sp>
      <p:sp>
        <p:nvSpPr>
          <p:cNvPr id="58" name="TextBox 57">
            <a:extLst>
              <a:ext uri="{FF2B5EF4-FFF2-40B4-BE49-F238E27FC236}">
                <a16:creationId xmlns:a16="http://schemas.microsoft.com/office/drawing/2014/main" id="{477A9370-4EB7-D4FB-9C49-64212593232B}"/>
              </a:ext>
            </a:extLst>
          </p:cNvPr>
          <p:cNvSpPr txBox="1"/>
          <p:nvPr/>
        </p:nvSpPr>
        <p:spPr>
          <a:xfrm>
            <a:off x="1193932" y="2180300"/>
            <a:ext cx="1743075" cy="369332"/>
          </a:xfrm>
          <a:prstGeom prst="rect">
            <a:avLst/>
          </a:prstGeom>
          <a:noFill/>
        </p:spPr>
        <p:txBody>
          <a:bodyPr wrap="square" rtlCol="0">
            <a:spAutoFit/>
          </a:bodyPr>
          <a:lstStyle/>
          <a:p>
            <a:pPr marL="285750" indent="-285750">
              <a:buFont typeface="Wingdings" panose="05000000000000000000" pitchFamily="2" charset="2"/>
              <a:buChar char="Ø"/>
            </a:pPr>
            <a:r>
              <a:rPr lang="en-US"/>
              <a:t>Weather</a:t>
            </a:r>
          </a:p>
        </p:txBody>
      </p:sp>
      <p:sp>
        <p:nvSpPr>
          <p:cNvPr id="59" name="TextBox 58">
            <a:extLst>
              <a:ext uri="{FF2B5EF4-FFF2-40B4-BE49-F238E27FC236}">
                <a16:creationId xmlns:a16="http://schemas.microsoft.com/office/drawing/2014/main" id="{90B4C7A6-1146-A4F7-F58B-CF1A5B25CD55}"/>
              </a:ext>
            </a:extLst>
          </p:cNvPr>
          <p:cNvSpPr txBox="1"/>
          <p:nvPr/>
        </p:nvSpPr>
        <p:spPr>
          <a:xfrm>
            <a:off x="1193932" y="4153994"/>
            <a:ext cx="1743075" cy="369332"/>
          </a:xfrm>
          <a:prstGeom prst="rect">
            <a:avLst/>
          </a:prstGeom>
          <a:noFill/>
        </p:spPr>
        <p:txBody>
          <a:bodyPr wrap="square" rtlCol="0">
            <a:spAutoFit/>
          </a:bodyPr>
          <a:lstStyle/>
          <a:p>
            <a:pPr marL="285750" indent="-285750">
              <a:buFont typeface="Wingdings" panose="05000000000000000000" pitchFamily="2" charset="2"/>
              <a:buChar char="Ø"/>
            </a:pPr>
            <a:r>
              <a:rPr lang="en-US"/>
              <a:t>Soil</a:t>
            </a:r>
          </a:p>
        </p:txBody>
      </p:sp>
      <p:cxnSp>
        <p:nvCxnSpPr>
          <p:cNvPr id="61" name="Straight Arrow Connector 60">
            <a:extLst>
              <a:ext uri="{FF2B5EF4-FFF2-40B4-BE49-F238E27FC236}">
                <a16:creationId xmlns:a16="http://schemas.microsoft.com/office/drawing/2014/main" id="{36FD637E-E67B-7D24-5C59-101BCC9B20B1}"/>
              </a:ext>
            </a:extLst>
          </p:cNvPr>
          <p:cNvCxnSpPr>
            <a:stCxn id="58" idx="3"/>
          </p:cNvCxnSpPr>
          <p:nvPr/>
        </p:nvCxnSpPr>
        <p:spPr>
          <a:xfrm>
            <a:off x="2937007" y="2364966"/>
            <a:ext cx="1876425" cy="58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6ACC9BD9-0A30-22E4-1AAE-B7B60C0DD078}"/>
              </a:ext>
            </a:extLst>
          </p:cNvPr>
          <p:cNvSpPr txBox="1"/>
          <p:nvPr/>
        </p:nvSpPr>
        <p:spPr>
          <a:xfrm>
            <a:off x="5108707" y="1961133"/>
            <a:ext cx="1743075" cy="1477328"/>
          </a:xfrm>
          <a:prstGeom prst="rect">
            <a:avLst/>
          </a:prstGeom>
          <a:noFill/>
        </p:spPr>
        <p:txBody>
          <a:bodyPr wrap="square" rtlCol="0">
            <a:spAutoFit/>
          </a:bodyPr>
          <a:lstStyle/>
          <a:p>
            <a:pPr marL="285750" indent="-285750">
              <a:buFont typeface="Courier New" panose="02070309020205020404" pitchFamily="49" charset="0"/>
              <a:buChar char="o"/>
            </a:pPr>
            <a:r>
              <a:rPr lang="en-US">
                <a:solidFill>
                  <a:srgbClr val="92D050"/>
                </a:solidFill>
              </a:rPr>
              <a:t>Temperature</a:t>
            </a:r>
          </a:p>
          <a:p>
            <a:pPr marL="285750" indent="-285750">
              <a:buFont typeface="Courier New" panose="02070309020205020404" pitchFamily="49" charset="0"/>
              <a:buChar char="o"/>
            </a:pPr>
            <a:r>
              <a:rPr lang="en-US">
                <a:solidFill>
                  <a:srgbClr val="92D050"/>
                </a:solidFill>
              </a:rPr>
              <a:t>Humidity</a:t>
            </a:r>
          </a:p>
          <a:p>
            <a:pPr marL="285750" indent="-285750">
              <a:buFont typeface="Courier New" panose="02070309020205020404" pitchFamily="49" charset="0"/>
              <a:buChar char="o"/>
            </a:pPr>
            <a:r>
              <a:rPr lang="en-US">
                <a:solidFill>
                  <a:srgbClr val="92D050"/>
                </a:solidFill>
              </a:rPr>
              <a:t>Precipitation</a:t>
            </a:r>
          </a:p>
          <a:p>
            <a:pPr marL="285750" indent="-285750">
              <a:buFont typeface="Courier New" panose="02070309020205020404" pitchFamily="49" charset="0"/>
              <a:buChar char="o"/>
            </a:pPr>
            <a:r>
              <a:rPr lang="en-US">
                <a:solidFill>
                  <a:srgbClr val="92D050"/>
                </a:solidFill>
              </a:rPr>
              <a:t>Wind Speed</a:t>
            </a:r>
          </a:p>
          <a:p>
            <a:r>
              <a:rPr lang="en-US">
                <a:solidFill>
                  <a:srgbClr val="92D050"/>
                </a:solidFill>
              </a:rPr>
              <a:t>…………..</a:t>
            </a:r>
          </a:p>
        </p:txBody>
      </p:sp>
      <p:sp>
        <p:nvSpPr>
          <p:cNvPr id="63" name="TextBox 62">
            <a:extLst>
              <a:ext uri="{FF2B5EF4-FFF2-40B4-BE49-F238E27FC236}">
                <a16:creationId xmlns:a16="http://schemas.microsoft.com/office/drawing/2014/main" id="{15AC1DFF-5986-2F03-33B5-C89C2ADF3A4F}"/>
              </a:ext>
            </a:extLst>
          </p:cNvPr>
          <p:cNvSpPr txBox="1"/>
          <p:nvPr/>
        </p:nvSpPr>
        <p:spPr>
          <a:xfrm>
            <a:off x="5108706" y="3626553"/>
            <a:ext cx="3333751" cy="1477328"/>
          </a:xfrm>
          <a:prstGeom prst="rect">
            <a:avLst/>
          </a:prstGeom>
          <a:noFill/>
        </p:spPr>
        <p:txBody>
          <a:bodyPr wrap="square" rtlCol="0">
            <a:spAutoFit/>
          </a:bodyPr>
          <a:lstStyle/>
          <a:p>
            <a:pPr marL="285750" indent="-285750">
              <a:buFont typeface="Courier New" panose="02070309020205020404" pitchFamily="49" charset="0"/>
              <a:buChar char="o"/>
            </a:pPr>
            <a:r>
              <a:rPr lang="en-US">
                <a:solidFill>
                  <a:srgbClr val="92D050"/>
                </a:solidFill>
              </a:rPr>
              <a:t>Sand/Silt/Clay percentage</a:t>
            </a:r>
          </a:p>
          <a:p>
            <a:pPr marL="285750" indent="-285750">
              <a:buFont typeface="Courier New" panose="02070309020205020404" pitchFamily="49" charset="0"/>
              <a:buChar char="o"/>
            </a:pPr>
            <a:r>
              <a:rPr lang="en-US">
                <a:solidFill>
                  <a:srgbClr val="92D050"/>
                </a:solidFill>
              </a:rPr>
              <a:t>Bulk Density</a:t>
            </a:r>
          </a:p>
          <a:p>
            <a:pPr marL="285750" indent="-285750">
              <a:buFont typeface="Courier New" panose="02070309020205020404" pitchFamily="49" charset="0"/>
              <a:buChar char="o"/>
            </a:pPr>
            <a:r>
              <a:rPr lang="en-US">
                <a:solidFill>
                  <a:srgbClr val="92D050"/>
                </a:solidFill>
              </a:rPr>
              <a:t>Available water capacity</a:t>
            </a:r>
          </a:p>
          <a:p>
            <a:pPr marL="285750" indent="-285750">
              <a:buFont typeface="Courier New" panose="02070309020205020404" pitchFamily="49" charset="0"/>
              <a:buChar char="o"/>
            </a:pPr>
            <a:r>
              <a:rPr lang="en-US">
                <a:solidFill>
                  <a:srgbClr val="92D050"/>
                </a:solidFill>
              </a:rPr>
              <a:t>Organic carbon content</a:t>
            </a:r>
          </a:p>
          <a:p>
            <a:r>
              <a:rPr lang="en-US">
                <a:solidFill>
                  <a:srgbClr val="92D050"/>
                </a:solidFill>
              </a:rPr>
              <a:t>…………..</a:t>
            </a:r>
          </a:p>
        </p:txBody>
      </p:sp>
      <p:cxnSp>
        <p:nvCxnSpPr>
          <p:cNvPr id="64" name="Straight Arrow Connector 63">
            <a:extLst>
              <a:ext uri="{FF2B5EF4-FFF2-40B4-BE49-F238E27FC236}">
                <a16:creationId xmlns:a16="http://schemas.microsoft.com/office/drawing/2014/main" id="{F8C37DCD-1BE8-D3DD-E51D-F73EC3236D8D}"/>
              </a:ext>
            </a:extLst>
          </p:cNvPr>
          <p:cNvCxnSpPr>
            <a:cxnSpLocks/>
            <a:stCxn id="59" idx="3"/>
          </p:cNvCxnSpPr>
          <p:nvPr/>
        </p:nvCxnSpPr>
        <p:spPr>
          <a:xfrm>
            <a:off x="2937007" y="4338660"/>
            <a:ext cx="18097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3D57C913-D685-7FBB-DAC9-D663C4A11301}"/>
              </a:ext>
            </a:extLst>
          </p:cNvPr>
          <p:cNvSpPr txBox="1"/>
          <p:nvPr/>
        </p:nvSpPr>
        <p:spPr>
          <a:xfrm>
            <a:off x="1193932" y="5981476"/>
            <a:ext cx="4438650" cy="369332"/>
          </a:xfrm>
          <a:prstGeom prst="rect">
            <a:avLst/>
          </a:prstGeom>
          <a:noFill/>
        </p:spPr>
        <p:txBody>
          <a:bodyPr wrap="square" rtlCol="0">
            <a:spAutoFit/>
          </a:bodyPr>
          <a:lstStyle/>
          <a:p>
            <a:pPr marL="285750" indent="-285750">
              <a:buFont typeface="Wingdings" panose="05000000000000000000" pitchFamily="2" charset="2"/>
              <a:buChar char="Ø"/>
            </a:pPr>
            <a:r>
              <a:rPr lang="en-US">
                <a:solidFill>
                  <a:srgbClr val="00B0F0"/>
                </a:solidFill>
              </a:rPr>
              <a:t>Land Surface Temperature</a:t>
            </a:r>
          </a:p>
        </p:txBody>
      </p:sp>
      <p:sp>
        <p:nvSpPr>
          <p:cNvPr id="68" name="TextBox 67">
            <a:extLst>
              <a:ext uri="{FF2B5EF4-FFF2-40B4-BE49-F238E27FC236}">
                <a16:creationId xmlns:a16="http://schemas.microsoft.com/office/drawing/2014/main" id="{60A3FB28-B2FC-8C9E-D8BB-40907E553639}"/>
              </a:ext>
            </a:extLst>
          </p:cNvPr>
          <p:cNvSpPr txBox="1"/>
          <p:nvPr/>
        </p:nvSpPr>
        <p:spPr>
          <a:xfrm>
            <a:off x="1206764" y="5349907"/>
            <a:ext cx="4438650" cy="369332"/>
          </a:xfrm>
          <a:prstGeom prst="rect">
            <a:avLst/>
          </a:prstGeom>
          <a:noFill/>
        </p:spPr>
        <p:txBody>
          <a:bodyPr wrap="square" rtlCol="0">
            <a:spAutoFit/>
          </a:bodyPr>
          <a:lstStyle/>
          <a:p>
            <a:pPr marL="285750" indent="-285750">
              <a:buFont typeface="Wingdings" panose="05000000000000000000" pitchFamily="2" charset="2"/>
              <a:buChar char="Ø"/>
            </a:pPr>
            <a:r>
              <a:rPr lang="en-US"/>
              <a:t>Elevation</a:t>
            </a:r>
          </a:p>
        </p:txBody>
      </p:sp>
      <p:sp>
        <p:nvSpPr>
          <p:cNvPr id="69" name="Oval 68">
            <a:extLst>
              <a:ext uri="{FF2B5EF4-FFF2-40B4-BE49-F238E27FC236}">
                <a16:creationId xmlns:a16="http://schemas.microsoft.com/office/drawing/2014/main" id="{1F2244A3-95C7-B48D-A6EF-2490C551608A}"/>
              </a:ext>
            </a:extLst>
          </p:cNvPr>
          <p:cNvSpPr/>
          <p:nvPr/>
        </p:nvSpPr>
        <p:spPr>
          <a:xfrm>
            <a:off x="1011975" y="2094414"/>
            <a:ext cx="1743075" cy="538623"/>
          </a:xfrm>
          <a:prstGeom prst="ellipse">
            <a:avLst/>
          </a:prstGeom>
          <a:no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2" name="Group 71">
            <a:extLst>
              <a:ext uri="{FF2B5EF4-FFF2-40B4-BE49-F238E27FC236}">
                <a16:creationId xmlns:a16="http://schemas.microsoft.com/office/drawing/2014/main" id="{28935246-43A0-D9B5-F806-50679A7F07D6}"/>
              </a:ext>
            </a:extLst>
          </p:cNvPr>
          <p:cNvGrpSpPr/>
          <p:nvPr/>
        </p:nvGrpSpPr>
        <p:grpSpPr>
          <a:xfrm>
            <a:off x="7980609" y="1901843"/>
            <a:ext cx="2316228" cy="1329898"/>
            <a:chOff x="7967777" y="2150418"/>
            <a:chExt cx="2316228" cy="1329898"/>
          </a:xfrm>
        </p:grpSpPr>
        <p:sp>
          <p:nvSpPr>
            <p:cNvPr id="70" name="TextBox 69">
              <a:extLst>
                <a:ext uri="{FF2B5EF4-FFF2-40B4-BE49-F238E27FC236}">
                  <a16:creationId xmlns:a16="http://schemas.microsoft.com/office/drawing/2014/main" id="{7599C1EA-8875-C4A1-8903-9D62F4FB0D5A}"/>
                </a:ext>
              </a:extLst>
            </p:cNvPr>
            <p:cNvSpPr txBox="1"/>
            <p:nvPr/>
          </p:nvSpPr>
          <p:spPr>
            <a:xfrm>
              <a:off x="8661448" y="2481852"/>
              <a:ext cx="1622557" cy="646331"/>
            </a:xfrm>
            <a:prstGeom prst="rect">
              <a:avLst/>
            </a:prstGeom>
            <a:noFill/>
          </p:spPr>
          <p:txBody>
            <a:bodyPr wrap="square" rtlCol="0">
              <a:spAutoFit/>
            </a:bodyPr>
            <a:lstStyle/>
            <a:p>
              <a:r>
                <a:rPr lang="en-US"/>
                <a:t>ERA5</a:t>
              </a:r>
            </a:p>
            <a:p>
              <a:r>
                <a:rPr lang="en-US"/>
                <a:t>TWC </a:t>
              </a:r>
            </a:p>
          </p:txBody>
        </p:sp>
        <p:sp>
          <p:nvSpPr>
            <p:cNvPr id="71" name="Right Brace 70">
              <a:extLst>
                <a:ext uri="{FF2B5EF4-FFF2-40B4-BE49-F238E27FC236}">
                  <a16:creationId xmlns:a16="http://schemas.microsoft.com/office/drawing/2014/main" id="{F4202240-684A-A638-AB60-5BAEB293E7D2}"/>
                </a:ext>
              </a:extLst>
            </p:cNvPr>
            <p:cNvSpPr/>
            <p:nvPr/>
          </p:nvSpPr>
          <p:spPr>
            <a:xfrm>
              <a:off x="7967777" y="2150418"/>
              <a:ext cx="609600" cy="1329898"/>
            </a:xfrm>
            <a:prstGeom prst="rightBrac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74" name="TextBox 73">
            <a:extLst>
              <a:ext uri="{FF2B5EF4-FFF2-40B4-BE49-F238E27FC236}">
                <a16:creationId xmlns:a16="http://schemas.microsoft.com/office/drawing/2014/main" id="{EF460FF9-A7A4-B7B8-D81A-DD54DBA43839}"/>
              </a:ext>
            </a:extLst>
          </p:cNvPr>
          <p:cNvSpPr txBox="1"/>
          <p:nvPr/>
        </p:nvSpPr>
        <p:spPr>
          <a:xfrm>
            <a:off x="10684736" y="4224352"/>
            <a:ext cx="1622557" cy="369332"/>
          </a:xfrm>
          <a:prstGeom prst="rect">
            <a:avLst/>
          </a:prstGeom>
          <a:noFill/>
        </p:spPr>
        <p:txBody>
          <a:bodyPr wrap="square" rtlCol="0">
            <a:spAutoFit/>
          </a:bodyPr>
          <a:lstStyle/>
          <a:p>
            <a:r>
              <a:rPr lang="en-US"/>
              <a:t>250m</a:t>
            </a:r>
          </a:p>
        </p:txBody>
      </p:sp>
      <p:sp>
        <p:nvSpPr>
          <p:cNvPr id="75" name="Right Brace 74">
            <a:extLst>
              <a:ext uri="{FF2B5EF4-FFF2-40B4-BE49-F238E27FC236}">
                <a16:creationId xmlns:a16="http://schemas.microsoft.com/office/drawing/2014/main" id="{8416AE51-D388-A4C7-CAA1-7EBB934E90A5}"/>
              </a:ext>
            </a:extLst>
          </p:cNvPr>
          <p:cNvSpPr/>
          <p:nvPr/>
        </p:nvSpPr>
        <p:spPr>
          <a:xfrm>
            <a:off x="7980609" y="3637361"/>
            <a:ext cx="609600" cy="1543314"/>
          </a:xfrm>
          <a:prstGeom prst="rightBrac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79" name="Straight Arrow Connector 78">
            <a:extLst>
              <a:ext uri="{FF2B5EF4-FFF2-40B4-BE49-F238E27FC236}">
                <a16:creationId xmlns:a16="http://schemas.microsoft.com/office/drawing/2014/main" id="{687AEA25-50B3-782B-E1A4-FE0011FDE576}"/>
              </a:ext>
            </a:extLst>
          </p:cNvPr>
          <p:cNvCxnSpPr>
            <a:cxnSpLocks/>
          </p:cNvCxnSpPr>
          <p:nvPr/>
        </p:nvCxnSpPr>
        <p:spPr>
          <a:xfrm>
            <a:off x="3426089" y="5573344"/>
            <a:ext cx="4816343" cy="0"/>
          </a:xfrm>
          <a:prstGeom prst="straightConnector1">
            <a:avLst/>
          </a:prstGeom>
          <a:ln>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B0FA33D4-5E5F-92B5-C3F6-D67E1F0E9F89}"/>
              </a:ext>
            </a:extLst>
          </p:cNvPr>
          <p:cNvCxnSpPr>
            <a:cxnSpLocks/>
          </p:cNvCxnSpPr>
          <p:nvPr/>
        </p:nvCxnSpPr>
        <p:spPr>
          <a:xfrm>
            <a:off x="4911989" y="6173419"/>
            <a:ext cx="3330443" cy="0"/>
          </a:xfrm>
          <a:prstGeom prst="straightConnector1">
            <a:avLst/>
          </a:prstGeom>
          <a:ln>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B389E4F6-61CA-0F42-BB36-6871F0F4FDCF}"/>
              </a:ext>
            </a:extLst>
          </p:cNvPr>
          <p:cNvSpPr txBox="1"/>
          <p:nvPr/>
        </p:nvSpPr>
        <p:spPr>
          <a:xfrm>
            <a:off x="10684736" y="5388678"/>
            <a:ext cx="1622557" cy="369332"/>
          </a:xfrm>
          <a:prstGeom prst="rect">
            <a:avLst/>
          </a:prstGeom>
          <a:noFill/>
        </p:spPr>
        <p:txBody>
          <a:bodyPr wrap="square" rtlCol="0">
            <a:spAutoFit/>
          </a:bodyPr>
          <a:lstStyle/>
          <a:p>
            <a:r>
              <a:rPr lang="en-US"/>
              <a:t>30m</a:t>
            </a:r>
          </a:p>
        </p:txBody>
      </p:sp>
      <p:sp>
        <p:nvSpPr>
          <p:cNvPr id="84" name="TextBox 83">
            <a:extLst>
              <a:ext uri="{FF2B5EF4-FFF2-40B4-BE49-F238E27FC236}">
                <a16:creationId xmlns:a16="http://schemas.microsoft.com/office/drawing/2014/main" id="{1EF420AB-027C-90AF-CD6B-38191B3E36BD}"/>
              </a:ext>
            </a:extLst>
          </p:cNvPr>
          <p:cNvSpPr txBox="1"/>
          <p:nvPr/>
        </p:nvSpPr>
        <p:spPr>
          <a:xfrm>
            <a:off x="8706078" y="5896420"/>
            <a:ext cx="1743075" cy="584775"/>
          </a:xfrm>
          <a:prstGeom prst="rect">
            <a:avLst/>
          </a:prstGeom>
          <a:noFill/>
        </p:spPr>
        <p:txBody>
          <a:bodyPr wrap="square" rtlCol="0">
            <a:spAutoFit/>
          </a:bodyPr>
          <a:lstStyle/>
          <a:p>
            <a:r>
              <a:rPr lang="en-US" sz="1600"/>
              <a:t>Satellite data from</a:t>
            </a:r>
          </a:p>
          <a:p>
            <a:r>
              <a:rPr lang="en-US" sz="1600"/>
              <a:t>Planet Labs </a:t>
            </a:r>
          </a:p>
        </p:txBody>
      </p:sp>
      <p:sp>
        <p:nvSpPr>
          <p:cNvPr id="2" name="Slide Number Placeholder 1">
            <a:extLst>
              <a:ext uri="{FF2B5EF4-FFF2-40B4-BE49-F238E27FC236}">
                <a16:creationId xmlns:a16="http://schemas.microsoft.com/office/drawing/2014/main" id="{6D7FCBD6-1C98-E9CE-93C6-53AC8BC673C5}"/>
              </a:ext>
            </a:extLst>
          </p:cNvPr>
          <p:cNvSpPr>
            <a:spLocks noGrp="1"/>
          </p:cNvSpPr>
          <p:nvPr>
            <p:ph type="sldNum" sz="quarter" idx="12"/>
          </p:nvPr>
        </p:nvSpPr>
        <p:spPr/>
        <p:txBody>
          <a:bodyPr/>
          <a:lstStyle/>
          <a:p>
            <a:fld id="{EEAD9179-7A6B-4268-BEB2-F3B8EB06115B}" type="slidenum">
              <a:rPr lang="en-US" noProof="0" smtClean="0"/>
              <a:t>10</a:t>
            </a:fld>
            <a:endParaRPr lang="en-US" noProof="0"/>
          </a:p>
        </p:txBody>
      </p:sp>
      <p:sp>
        <p:nvSpPr>
          <p:cNvPr id="3" name="TextBox 2">
            <a:extLst>
              <a:ext uri="{FF2B5EF4-FFF2-40B4-BE49-F238E27FC236}">
                <a16:creationId xmlns:a16="http://schemas.microsoft.com/office/drawing/2014/main" id="{7575AD2E-83F9-2C5A-1724-4025F6CB666E}"/>
              </a:ext>
            </a:extLst>
          </p:cNvPr>
          <p:cNvSpPr txBox="1"/>
          <p:nvPr/>
        </p:nvSpPr>
        <p:spPr>
          <a:xfrm>
            <a:off x="1701484" y="1285051"/>
            <a:ext cx="1235523" cy="369332"/>
          </a:xfrm>
          <a:prstGeom prst="rect">
            <a:avLst/>
          </a:prstGeom>
          <a:noFill/>
        </p:spPr>
        <p:txBody>
          <a:bodyPr wrap="square" rtlCol="0">
            <a:spAutoFit/>
          </a:bodyPr>
          <a:lstStyle/>
          <a:p>
            <a:r>
              <a:rPr lang="en-US" b="1" u="sng"/>
              <a:t>Dataset</a:t>
            </a:r>
          </a:p>
        </p:txBody>
      </p:sp>
      <p:sp>
        <p:nvSpPr>
          <p:cNvPr id="5" name="TextBox 4">
            <a:extLst>
              <a:ext uri="{FF2B5EF4-FFF2-40B4-BE49-F238E27FC236}">
                <a16:creationId xmlns:a16="http://schemas.microsoft.com/office/drawing/2014/main" id="{640410B1-D6C8-6AE2-5E39-F609BCCB3287}"/>
              </a:ext>
            </a:extLst>
          </p:cNvPr>
          <p:cNvSpPr txBox="1"/>
          <p:nvPr/>
        </p:nvSpPr>
        <p:spPr>
          <a:xfrm>
            <a:off x="8590209" y="1281782"/>
            <a:ext cx="900020" cy="369332"/>
          </a:xfrm>
          <a:prstGeom prst="rect">
            <a:avLst/>
          </a:prstGeom>
          <a:noFill/>
        </p:spPr>
        <p:txBody>
          <a:bodyPr wrap="square" rtlCol="0">
            <a:spAutoFit/>
          </a:bodyPr>
          <a:lstStyle/>
          <a:p>
            <a:r>
              <a:rPr lang="en-US" b="1" u="sng"/>
              <a:t>Source</a:t>
            </a:r>
          </a:p>
        </p:txBody>
      </p:sp>
      <p:sp>
        <p:nvSpPr>
          <p:cNvPr id="6" name="TextBox 5">
            <a:extLst>
              <a:ext uri="{FF2B5EF4-FFF2-40B4-BE49-F238E27FC236}">
                <a16:creationId xmlns:a16="http://schemas.microsoft.com/office/drawing/2014/main" id="{9F9A0ECC-BAEC-B095-EED1-369C2A0B7EDA}"/>
              </a:ext>
            </a:extLst>
          </p:cNvPr>
          <p:cNvSpPr txBox="1"/>
          <p:nvPr/>
        </p:nvSpPr>
        <p:spPr>
          <a:xfrm>
            <a:off x="10420488" y="1281782"/>
            <a:ext cx="1315791" cy="369332"/>
          </a:xfrm>
          <a:prstGeom prst="rect">
            <a:avLst/>
          </a:prstGeom>
          <a:noFill/>
        </p:spPr>
        <p:txBody>
          <a:bodyPr wrap="square" rtlCol="0">
            <a:spAutoFit/>
          </a:bodyPr>
          <a:lstStyle/>
          <a:p>
            <a:r>
              <a:rPr lang="en-US" b="1" u="sng"/>
              <a:t>Resolution</a:t>
            </a:r>
          </a:p>
        </p:txBody>
      </p:sp>
      <p:sp>
        <p:nvSpPr>
          <p:cNvPr id="7" name="TextBox 6">
            <a:extLst>
              <a:ext uri="{FF2B5EF4-FFF2-40B4-BE49-F238E27FC236}">
                <a16:creationId xmlns:a16="http://schemas.microsoft.com/office/drawing/2014/main" id="{B015396B-6D4A-2C99-FB34-AA10AE533509}"/>
              </a:ext>
            </a:extLst>
          </p:cNvPr>
          <p:cNvSpPr txBox="1"/>
          <p:nvPr/>
        </p:nvSpPr>
        <p:spPr>
          <a:xfrm>
            <a:off x="10660750" y="2226466"/>
            <a:ext cx="835265" cy="646331"/>
          </a:xfrm>
          <a:prstGeom prst="rect">
            <a:avLst/>
          </a:prstGeom>
          <a:noFill/>
        </p:spPr>
        <p:txBody>
          <a:bodyPr wrap="square" rtlCol="0">
            <a:spAutoFit/>
          </a:bodyPr>
          <a:lstStyle/>
          <a:p>
            <a:r>
              <a:rPr lang="en-US"/>
              <a:t>28km</a:t>
            </a:r>
          </a:p>
          <a:p>
            <a:r>
              <a:rPr lang="en-US"/>
              <a:t>4km</a:t>
            </a:r>
          </a:p>
        </p:txBody>
      </p:sp>
      <p:sp>
        <p:nvSpPr>
          <p:cNvPr id="8" name="TextBox 7">
            <a:extLst>
              <a:ext uri="{FF2B5EF4-FFF2-40B4-BE49-F238E27FC236}">
                <a16:creationId xmlns:a16="http://schemas.microsoft.com/office/drawing/2014/main" id="{CF231785-6F05-269A-2F8C-2DB42C31F01A}"/>
              </a:ext>
            </a:extLst>
          </p:cNvPr>
          <p:cNvSpPr txBox="1"/>
          <p:nvPr/>
        </p:nvSpPr>
        <p:spPr>
          <a:xfrm>
            <a:off x="8706078" y="4195309"/>
            <a:ext cx="1743075" cy="369332"/>
          </a:xfrm>
          <a:prstGeom prst="rect">
            <a:avLst/>
          </a:prstGeom>
          <a:noFill/>
        </p:spPr>
        <p:txBody>
          <a:bodyPr wrap="square" rtlCol="0">
            <a:spAutoFit/>
          </a:bodyPr>
          <a:lstStyle/>
          <a:p>
            <a:r>
              <a:rPr lang="en-US"/>
              <a:t>Soil250</a:t>
            </a:r>
          </a:p>
        </p:txBody>
      </p:sp>
      <p:sp>
        <p:nvSpPr>
          <p:cNvPr id="11" name="TextBox 10">
            <a:extLst>
              <a:ext uri="{FF2B5EF4-FFF2-40B4-BE49-F238E27FC236}">
                <a16:creationId xmlns:a16="http://schemas.microsoft.com/office/drawing/2014/main" id="{4F9B9796-B12D-713F-746A-4DCA952B9304}"/>
              </a:ext>
            </a:extLst>
          </p:cNvPr>
          <p:cNvSpPr txBox="1"/>
          <p:nvPr/>
        </p:nvSpPr>
        <p:spPr>
          <a:xfrm>
            <a:off x="8706078" y="5423803"/>
            <a:ext cx="1376039" cy="369332"/>
          </a:xfrm>
          <a:prstGeom prst="rect">
            <a:avLst/>
          </a:prstGeom>
          <a:noFill/>
        </p:spPr>
        <p:txBody>
          <a:bodyPr wrap="square">
            <a:spAutoFit/>
          </a:bodyPr>
          <a:lstStyle/>
          <a:p>
            <a:r>
              <a:rPr lang="en-US"/>
              <a:t>SRTM DEM</a:t>
            </a:r>
          </a:p>
        </p:txBody>
      </p:sp>
      <p:sp>
        <p:nvSpPr>
          <p:cNvPr id="14" name="TextBox 13">
            <a:extLst>
              <a:ext uri="{FF2B5EF4-FFF2-40B4-BE49-F238E27FC236}">
                <a16:creationId xmlns:a16="http://schemas.microsoft.com/office/drawing/2014/main" id="{38F4F4CD-DAF6-1AE9-31D8-3409B0EF1425}"/>
              </a:ext>
            </a:extLst>
          </p:cNvPr>
          <p:cNvSpPr txBox="1"/>
          <p:nvPr/>
        </p:nvSpPr>
        <p:spPr>
          <a:xfrm>
            <a:off x="10684736" y="5988753"/>
            <a:ext cx="1622557" cy="369332"/>
          </a:xfrm>
          <a:prstGeom prst="rect">
            <a:avLst/>
          </a:prstGeom>
          <a:noFill/>
        </p:spPr>
        <p:txBody>
          <a:bodyPr wrap="square" rtlCol="0">
            <a:spAutoFit/>
          </a:bodyPr>
          <a:lstStyle/>
          <a:p>
            <a:r>
              <a:rPr lang="en-US"/>
              <a:t>100m</a:t>
            </a:r>
          </a:p>
        </p:txBody>
      </p:sp>
      <p:sp>
        <p:nvSpPr>
          <p:cNvPr id="15" name="TextBox 14">
            <a:extLst>
              <a:ext uri="{FF2B5EF4-FFF2-40B4-BE49-F238E27FC236}">
                <a16:creationId xmlns:a16="http://schemas.microsoft.com/office/drawing/2014/main" id="{B7F74B15-FDF2-1E28-12D1-C3D9C93B4BAF}"/>
              </a:ext>
            </a:extLst>
          </p:cNvPr>
          <p:cNvSpPr txBox="1"/>
          <p:nvPr/>
        </p:nvSpPr>
        <p:spPr>
          <a:xfrm>
            <a:off x="5645414" y="1290258"/>
            <a:ext cx="1235523" cy="369332"/>
          </a:xfrm>
          <a:prstGeom prst="rect">
            <a:avLst/>
          </a:prstGeom>
          <a:noFill/>
        </p:spPr>
        <p:txBody>
          <a:bodyPr wrap="square" rtlCol="0">
            <a:spAutoFit/>
          </a:bodyPr>
          <a:lstStyle/>
          <a:p>
            <a:r>
              <a:rPr lang="en-US" b="1" u="sng">
                <a:solidFill>
                  <a:srgbClr val="92D050"/>
                </a:solidFill>
              </a:rPr>
              <a:t>Variables</a:t>
            </a:r>
          </a:p>
        </p:txBody>
      </p:sp>
    </p:spTree>
    <p:extLst>
      <p:ext uri="{BB962C8B-B14F-4D97-AF65-F5344CB8AC3E}">
        <p14:creationId xmlns:p14="http://schemas.microsoft.com/office/powerpoint/2010/main" val="382852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58"/>
                                        </p:tgtEl>
                                        <p:attrNameLst>
                                          <p:attrName>style.visibility</p:attrName>
                                        </p:attrNameLst>
                                      </p:cBhvr>
                                      <p:to>
                                        <p:strVal val="visible"/>
                                      </p:to>
                                    </p:set>
                                    <p:anim calcmode="lin" valueType="num">
                                      <p:cBhvr>
                                        <p:cTn id="7" dur="500" fill="hold"/>
                                        <p:tgtEl>
                                          <p:spTgt spid="58"/>
                                        </p:tgtEl>
                                        <p:attrNameLst>
                                          <p:attrName>ppt_w</p:attrName>
                                        </p:attrNameLst>
                                      </p:cBhvr>
                                      <p:tavLst>
                                        <p:tav tm="0">
                                          <p:val>
                                            <p:fltVal val="0"/>
                                          </p:val>
                                        </p:tav>
                                        <p:tav tm="100000">
                                          <p:val>
                                            <p:strVal val="#ppt_w"/>
                                          </p:val>
                                        </p:tav>
                                      </p:tavLst>
                                    </p:anim>
                                    <p:anim calcmode="lin" valueType="num">
                                      <p:cBhvr>
                                        <p:cTn id="8" dur="500" fill="hold"/>
                                        <p:tgtEl>
                                          <p:spTgt spid="58"/>
                                        </p:tgtEl>
                                        <p:attrNameLst>
                                          <p:attrName>ppt_h</p:attrName>
                                        </p:attrNameLst>
                                      </p:cBhvr>
                                      <p:tavLst>
                                        <p:tav tm="0">
                                          <p:val>
                                            <p:fltVal val="0"/>
                                          </p:val>
                                        </p:tav>
                                        <p:tav tm="100000">
                                          <p:val>
                                            <p:strVal val="#ppt_h"/>
                                          </p:val>
                                        </p:tav>
                                      </p:tavLst>
                                    </p:anim>
                                    <p:animEffect transition="in" filter="fade">
                                      <p:cBhvr>
                                        <p:cTn id="9" dur="500"/>
                                        <p:tgtEl>
                                          <p:spTgt spid="58"/>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59"/>
                                        </p:tgtEl>
                                        <p:attrNameLst>
                                          <p:attrName>style.visibility</p:attrName>
                                        </p:attrNameLst>
                                      </p:cBhvr>
                                      <p:to>
                                        <p:strVal val="visible"/>
                                      </p:to>
                                    </p:set>
                                    <p:anim calcmode="lin" valueType="num">
                                      <p:cBhvr>
                                        <p:cTn id="12" dur="500" fill="hold"/>
                                        <p:tgtEl>
                                          <p:spTgt spid="59"/>
                                        </p:tgtEl>
                                        <p:attrNameLst>
                                          <p:attrName>ppt_w</p:attrName>
                                        </p:attrNameLst>
                                      </p:cBhvr>
                                      <p:tavLst>
                                        <p:tav tm="0">
                                          <p:val>
                                            <p:fltVal val="0"/>
                                          </p:val>
                                        </p:tav>
                                        <p:tav tm="100000">
                                          <p:val>
                                            <p:strVal val="#ppt_w"/>
                                          </p:val>
                                        </p:tav>
                                      </p:tavLst>
                                    </p:anim>
                                    <p:anim calcmode="lin" valueType="num">
                                      <p:cBhvr>
                                        <p:cTn id="13" dur="500" fill="hold"/>
                                        <p:tgtEl>
                                          <p:spTgt spid="59"/>
                                        </p:tgtEl>
                                        <p:attrNameLst>
                                          <p:attrName>ppt_h</p:attrName>
                                        </p:attrNameLst>
                                      </p:cBhvr>
                                      <p:tavLst>
                                        <p:tav tm="0">
                                          <p:val>
                                            <p:fltVal val="0"/>
                                          </p:val>
                                        </p:tav>
                                        <p:tav tm="100000">
                                          <p:val>
                                            <p:strVal val="#ppt_h"/>
                                          </p:val>
                                        </p:tav>
                                      </p:tavLst>
                                    </p:anim>
                                    <p:animEffect transition="in" filter="fade">
                                      <p:cBhvr>
                                        <p:cTn id="14" dur="500"/>
                                        <p:tgtEl>
                                          <p:spTgt spid="59"/>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68"/>
                                        </p:tgtEl>
                                        <p:attrNameLst>
                                          <p:attrName>style.visibility</p:attrName>
                                        </p:attrNameLst>
                                      </p:cBhvr>
                                      <p:to>
                                        <p:strVal val="visible"/>
                                      </p:to>
                                    </p:set>
                                    <p:anim calcmode="lin" valueType="num">
                                      <p:cBhvr>
                                        <p:cTn id="17" dur="500" fill="hold"/>
                                        <p:tgtEl>
                                          <p:spTgt spid="68"/>
                                        </p:tgtEl>
                                        <p:attrNameLst>
                                          <p:attrName>ppt_w</p:attrName>
                                        </p:attrNameLst>
                                      </p:cBhvr>
                                      <p:tavLst>
                                        <p:tav tm="0">
                                          <p:val>
                                            <p:fltVal val="0"/>
                                          </p:val>
                                        </p:tav>
                                        <p:tav tm="100000">
                                          <p:val>
                                            <p:strVal val="#ppt_w"/>
                                          </p:val>
                                        </p:tav>
                                      </p:tavLst>
                                    </p:anim>
                                    <p:anim calcmode="lin" valueType="num">
                                      <p:cBhvr>
                                        <p:cTn id="18" dur="500" fill="hold"/>
                                        <p:tgtEl>
                                          <p:spTgt spid="68"/>
                                        </p:tgtEl>
                                        <p:attrNameLst>
                                          <p:attrName>ppt_h</p:attrName>
                                        </p:attrNameLst>
                                      </p:cBhvr>
                                      <p:tavLst>
                                        <p:tav tm="0">
                                          <p:val>
                                            <p:fltVal val="0"/>
                                          </p:val>
                                        </p:tav>
                                        <p:tav tm="100000">
                                          <p:val>
                                            <p:strVal val="#ppt_h"/>
                                          </p:val>
                                        </p:tav>
                                      </p:tavLst>
                                    </p:anim>
                                    <p:animEffect transition="in" filter="fade">
                                      <p:cBhvr>
                                        <p:cTn id="19" dur="500"/>
                                        <p:tgtEl>
                                          <p:spTgt spid="68"/>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67"/>
                                        </p:tgtEl>
                                        <p:attrNameLst>
                                          <p:attrName>style.visibility</p:attrName>
                                        </p:attrNameLst>
                                      </p:cBhvr>
                                      <p:to>
                                        <p:strVal val="visible"/>
                                      </p:to>
                                    </p:set>
                                    <p:anim calcmode="lin" valueType="num">
                                      <p:cBhvr>
                                        <p:cTn id="22" dur="500" fill="hold"/>
                                        <p:tgtEl>
                                          <p:spTgt spid="67"/>
                                        </p:tgtEl>
                                        <p:attrNameLst>
                                          <p:attrName>ppt_w</p:attrName>
                                        </p:attrNameLst>
                                      </p:cBhvr>
                                      <p:tavLst>
                                        <p:tav tm="0">
                                          <p:val>
                                            <p:fltVal val="0"/>
                                          </p:val>
                                        </p:tav>
                                        <p:tav tm="100000">
                                          <p:val>
                                            <p:strVal val="#ppt_w"/>
                                          </p:val>
                                        </p:tav>
                                      </p:tavLst>
                                    </p:anim>
                                    <p:anim calcmode="lin" valueType="num">
                                      <p:cBhvr>
                                        <p:cTn id="23" dur="500" fill="hold"/>
                                        <p:tgtEl>
                                          <p:spTgt spid="67"/>
                                        </p:tgtEl>
                                        <p:attrNameLst>
                                          <p:attrName>ppt_h</p:attrName>
                                        </p:attrNameLst>
                                      </p:cBhvr>
                                      <p:tavLst>
                                        <p:tav tm="0">
                                          <p:val>
                                            <p:fltVal val="0"/>
                                          </p:val>
                                        </p:tav>
                                        <p:tav tm="100000">
                                          <p:val>
                                            <p:strVal val="#ppt_h"/>
                                          </p:val>
                                        </p:tav>
                                      </p:tavLst>
                                    </p:anim>
                                    <p:animEffect transition="in" filter="fade">
                                      <p:cBhvr>
                                        <p:cTn id="24" dur="500"/>
                                        <p:tgtEl>
                                          <p:spTgt spid="67"/>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3"/>
                                        </p:tgtEl>
                                        <p:attrNameLst>
                                          <p:attrName>style.visibility</p:attrName>
                                        </p:attrNameLst>
                                      </p:cBhvr>
                                      <p:to>
                                        <p:strVal val="visible"/>
                                      </p:to>
                                    </p:set>
                                    <p:anim calcmode="lin" valueType="num">
                                      <p:cBhvr>
                                        <p:cTn id="27" dur="500" fill="hold"/>
                                        <p:tgtEl>
                                          <p:spTgt spid="3"/>
                                        </p:tgtEl>
                                        <p:attrNameLst>
                                          <p:attrName>ppt_w</p:attrName>
                                        </p:attrNameLst>
                                      </p:cBhvr>
                                      <p:tavLst>
                                        <p:tav tm="0">
                                          <p:val>
                                            <p:fltVal val="0"/>
                                          </p:val>
                                        </p:tav>
                                        <p:tav tm="100000">
                                          <p:val>
                                            <p:strVal val="#ppt_w"/>
                                          </p:val>
                                        </p:tav>
                                      </p:tavLst>
                                    </p:anim>
                                    <p:anim calcmode="lin" valueType="num">
                                      <p:cBhvr>
                                        <p:cTn id="28" dur="500" fill="hold"/>
                                        <p:tgtEl>
                                          <p:spTgt spid="3"/>
                                        </p:tgtEl>
                                        <p:attrNameLst>
                                          <p:attrName>ppt_h</p:attrName>
                                        </p:attrNameLst>
                                      </p:cBhvr>
                                      <p:tavLst>
                                        <p:tav tm="0">
                                          <p:val>
                                            <p:fltVal val="0"/>
                                          </p:val>
                                        </p:tav>
                                        <p:tav tm="100000">
                                          <p:val>
                                            <p:strVal val="#ppt_h"/>
                                          </p:val>
                                        </p:tav>
                                      </p:tavLst>
                                    </p:anim>
                                    <p:animEffect transition="in" filter="fade">
                                      <p:cBhvr>
                                        <p:cTn id="29" dur="500"/>
                                        <p:tgtEl>
                                          <p:spTgt spid="3"/>
                                        </p:tgtEl>
                                      </p:cBhvr>
                                    </p:animEffect>
                                  </p:childTnLst>
                                </p:cTn>
                              </p:par>
                            </p:childTnLst>
                          </p:cTn>
                        </p:par>
                      </p:childTnLst>
                    </p:cTn>
                  </p:par>
                  <p:par>
                    <p:cTn id="30" fill="hold">
                      <p:stCondLst>
                        <p:cond delay="indefinite"/>
                      </p:stCondLst>
                      <p:childTnLst>
                        <p:par>
                          <p:cTn id="31" fill="hold">
                            <p:stCondLst>
                              <p:cond delay="0"/>
                            </p:stCondLst>
                            <p:childTnLst>
                              <p:par>
                                <p:cTn id="32" presetID="53" presetClass="entr" presetSubtype="16" fill="hold" grpId="0" nodeType="clickEffect">
                                  <p:stCondLst>
                                    <p:cond delay="0"/>
                                  </p:stCondLst>
                                  <p:childTnLst>
                                    <p:set>
                                      <p:cBhvr>
                                        <p:cTn id="33" dur="1" fill="hold">
                                          <p:stCondLst>
                                            <p:cond delay="0"/>
                                          </p:stCondLst>
                                        </p:cTn>
                                        <p:tgtEl>
                                          <p:spTgt spid="62"/>
                                        </p:tgtEl>
                                        <p:attrNameLst>
                                          <p:attrName>style.visibility</p:attrName>
                                        </p:attrNameLst>
                                      </p:cBhvr>
                                      <p:to>
                                        <p:strVal val="visible"/>
                                      </p:to>
                                    </p:set>
                                    <p:anim calcmode="lin" valueType="num">
                                      <p:cBhvr>
                                        <p:cTn id="34" dur="500" fill="hold"/>
                                        <p:tgtEl>
                                          <p:spTgt spid="62"/>
                                        </p:tgtEl>
                                        <p:attrNameLst>
                                          <p:attrName>ppt_w</p:attrName>
                                        </p:attrNameLst>
                                      </p:cBhvr>
                                      <p:tavLst>
                                        <p:tav tm="0">
                                          <p:val>
                                            <p:fltVal val="0"/>
                                          </p:val>
                                        </p:tav>
                                        <p:tav tm="100000">
                                          <p:val>
                                            <p:strVal val="#ppt_w"/>
                                          </p:val>
                                        </p:tav>
                                      </p:tavLst>
                                    </p:anim>
                                    <p:anim calcmode="lin" valueType="num">
                                      <p:cBhvr>
                                        <p:cTn id="35" dur="500" fill="hold"/>
                                        <p:tgtEl>
                                          <p:spTgt spid="62"/>
                                        </p:tgtEl>
                                        <p:attrNameLst>
                                          <p:attrName>ppt_h</p:attrName>
                                        </p:attrNameLst>
                                      </p:cBhvr>
                                      <p:tavLst>
                                        <p:tav tm="0">
                                          <p:val>
                                            <p:fltVal val="0"/>
                                          </p:val>
                                        </p:tav>
                                        <p:tav tm="100000">
                                          <p:val>
                                            <p:strVal val="#ppt_h"/>
                                          </p:val>
                                        </p:tav>
                                      </p:tavLst>
                                    </p:anim>
                                    <p:animEffect transition="in" filter="fade">
                                      <p:cBhvr>
                                        <p:cTn id="36" dur="500"/>
                                        <p:tgtEl>
                                          <p:spTgt spid="62"/>
                                        </p:tgtEl>
                                      </p:cBhvr>
                                    </p:animEffect>
                                  </p:childTnLst>
                                </p:cTn>
                              </p:par>
                              <p:par>
                                <p:cTn id="37" presetID="53" presetClass="entr" presetSubtype="16" fill="hold" grpId="0" nodeType="withEffect">
                                  <p:stCondLst>
                                    <p:cond delay="0"/>
                                  </p:stCondLst>
                                  <p:childTnLst>
                                    <p:set>
                                      <p:cBhvr>
                                        <p:cTn id="38" dur="1" fill="hold">
                                          <p:stCondLst>
                                            <p:cond delay="0"/>
                                          </p:stCondLst>
                                        </p:cTn>
                                        <p:tgtEl>
                                          <p:spTgt spid="15"/>
                                        </p:tgtEl>
                                        <p:attrNameLst>
                                          <p:attrName>style.visibility</p:attrName>
                                        </p:attrNameLst>
                                      </p:cBhvr>
                                      <p:to>
                                        <p:strVal val="visible"/>
                                      </p:to>
                                    </p:set>
                                    <p:anim calcmode="lin" valueType="num">
                                      <p:cBhvr>
                                        <p:cTn id="39" dur="500" fill="hold"/>
                                        <p:tgtEl>
                                          <p:spTgt spid="15"/>
                                        </p:tgtEl>
                                        <p:attrNameLst>
                                          <p:attrName>ppt_w</p:attrName>
                                        </p:attrNameLst>
                                      </p:cBhvr>
                                      <p:tavLst>
                                        <p:tav tm="0">
                                          <p:val>
                                            <p:fltVal val="0"/>
                                          </p:val>
                                        </p:tav>
                                        <p:tav tm="100000">
                                          <p:val>
                                            <p:strVal val="#ppt_w"/>
                                          </p:val>
                                        </p:tav>
                                      </p:tavLst>
                                    </p:anim>
                                    <p:anim calcmode="lin" valueType="num">
                                      <p:cBhvr>
                                        <p:cTn id="40" dur="500" fill="hold"/>
                                        <p:tgtEl>
                                          <p:spTgt spid="15"/>
                                        </p:tgtEl>
                                        <p:attrNameLst>
                                          <p:attrName>ppt_h</p:attrName>
                                        </p:attrNameLst>
                                      </p:cBhvr>
                                      <p:tavLst>
                                        <p:tav tm="0">
                                          <p:val>
                                            <p:fltVal val="0"/>
                                          </p:val>
                                        </p:tav>
                                        <p:tav tm="100000">
                                          <p:val>
                                            <p:strVal val="#ppt_h"/>
                                          </p:val>
                                        </p:tav>
                                      </p:tavLst>
                                    </p:anim>
                                    <p:animEffect transition="in" filter="fade">
                                      <p:cBhvr>
                                        <p:cTn id="41" dur="500"/>
                                        <p:tgtEl>
                                          <p:spTgt spid="15"/>
                                        </p:tgtEl>
                                      </p:cBhvr>
                                    </p:animEffect>
                                  </p:childTnLst>
                                </p:cTn>
                              </p:par>
                              <p:par>
                                <p:cTn id="42" presetID="53" presetClass="entr" presetSubtype="16" fill="hold" grpId="0" nodeType="withEffect">
                                  <p:stCondLst>
                                    <p:cond delay="0"/>
                                  </p:stCondLst>
                                  <p:childTnLst>
                                    <p:set>
                                      <p:cBhvr>
                                        <p:cTn id="43" dur="1" fill="hold">
                                          <p:stCondLst>
                                            <p:cond delay="0"/>
                                          </p:stCondLst>
                                        </p:cTn>
                                        <p:tgtEl>
                                          <p:spTgt spid="63"/>
                                        </p:tgtEl>
                                        <p:attrNameLst>
                                          <p:attrName>style.visibility</p:attrName>
                                        </p:attrNameLst>
                                      </p:cBhvr>
                                      <p:to>
                                        <p:strVal val="visible"/>
                                      </p:to>
                                    </p:set>
                                    <p:anim calcmode="lin" valueType="num">
                                      <p:cBhvr>
                                        <p:cTn id="44" dur="500" fill="hold"/>
                                        <p:tgtEl>
                                          <p:spTgt spid="63"/>
                                        </p:tgtEl>
                                        <p:attrNameLst>
                                          <p:attrName>ppt_w</p:attrName>
                                        </p:attrNameLst>
                                      </p:cBhvr>
                                      <p:tavLst>
                                        <p:tav tm="0">
                                          <p:val>
                                            <p:fltVal val="0"/>
                                          </p:val>
                                        </p:tav>
                                        <p:tav tm="100000">
                                          <p:val>
                                            <p:strVal val="#ppt_w"/>
                                          </p:val>
                                        </p:tav>
                                      </p:tavLst>
                                    </p:anim>
                                    <p:anim calcmode="lin" valueType="num">
                                      <p:cBhvr>
                                        <p:cTn id="45" dur="500" fill="hold"/>
                                        <p:tgtEl>
                                          <p:spTgt spid="63"/>
                                        </p:tgtEl>
                                        <p:attrNameLst>
                                          <p:attrName>ppt_h</p:attrName>
                                        </p:attrNameLst>
                                      </p:cBhvr>
                                      <p:tavLst>
                                        <p:tav tm="0">
                                          <p:val>
                                            <p:fltVal val="0"/>
                                          </p:val>
                                        </p:tav>
                                        <p:tav tm="100000">
                                          <p:val>
                                            <p:strVal val="#ppt_h"/>
                                          </p:val>
                                        </p:tav>
                                      </p:tavLst>
                                    </p:anim>
                                    <p:animEffect transition="in" filter="fade">
                                      <p:cBhvr>
                                        <p:cTn id="46" dur="500"/>
                                        <p:tgtEl>
                                          <p:spTgt spid="63"/>
                                        </p:tgtEl>
                                      </p:cBhvr>
                                    </p:animEffect>
                                  </p:childTnLst>
                                </p:cTn>
                              </p:par>
                              <p:par>
                                <p:cTn id="47" presetID="53" presetClass="entr" presetSubtype="16" fill="hold" nodeType="withEffect">
                                  <p:stCondLst>
                                    <p:cond delay="0"/>
                                  </p:stCondLst>
                                  <p:childTnLst>
                                    <p:set>
                                      <p:cBhvr>
                                        <p:cTn id="48" dur="1" fill="hold">
                                          <p:stCondLst>
                                            <p:cond delay="0"/>
                                          </p:stCondLst>
                                        </p:cTn>
                                        <p:tgtEl>
                                          <p:spTgt spid="64"/>
                                        </p:tgtEl>
                                        <p:attrNameLst>
                                          <p:attrName>style.visibility</p:attrName>
                                        </p:attrNameLst>
                                      </p:cBhvr>
                                      <p:to>
                                        <p:strVal val="visible"/>
                                      </p:to>
                                    </p:set>
                                    <p:anim calcmode="lin" valueType="num">
                                      <p:cBhvr>
                                        <p:cTn id="49" dur="500" fill="hold"/>
                                        <p:tgtEl>
                                          <p:spTgt spid="64"/>
                                        </p:tgtEl>
                                        <p:attrNameLst>
                                          <p:attrName>ppt_w</p:attrName>
                                        </p:attrNameLst>
                                      </p:cBhvr>
                                      <p:tavLst>
                                        <p:tav tm="0">
                                          <p:val>
                                            <p:fltVal val="0"/>
                                          </p:val>
                                        </p:tav>
                                        <p:tav tm="100000">
                                          <p:val>
                                            <p:strVal val="#ppt_w"/>
                                          </p:val>
                                        </p:tav>
                                      </p:tavLst>
                                    </p:anim>
                                    <p:anim calcmode="lin" valueType="num">
                                      <p:cBhvr>
                                        <p:cTn id="50" dur="500" fill="hold"/>
                                        <p:tgtEl>
                                          <p:spTgt spid="64"/>
                                        </p:tgtEl>
                                        <p:attrNameLst>
                                          <p:attrName>ppt_h</p:attrName>
                                        </p:attrNameLst>
                                      </p:cBhvr>
                                      <p:tavLst>
                                        <p:tav tm="0">
                                          <p:val>
                                            <p:fltVal val="0"/>
                                          </p:val>
                                        </p:tav>
                                        <p:tav tm="100000">
                                          <p:val>
                                            <p:strVal val="#ppt_h"/>
                                          </p:val>
                                        </p:tav>
                                      </p:tavLst>
                                    </p:anim>
                                    <p:animEffect transition="in" filter="fade">
                                      <p:cBhvr>
                                        <p:cTn id="51" dur="500"/>
                                        <p:tgtEl>
                                          <p:spTgt spid="64"/>
                                        </p:tgtEl>
                                      </p:cBhvr>
                                    </p:animEffect>
                                  </p:childTnLst>
                                </p:cTn>
                              </p:par>
                              <p:par>
                                <p:cTn id="52" presetID="53" presetClass="entr" presetSubtype="16" fill="hold" nodeType="withEffect">
                                  <p:stCondLst>
                                    <p:cond delay="0"/>
                                  </p:stCondLst>
                                  <p:childTnLst>
                                    <p:set>
                                      <p:cBhvr>
                                        <p:cTn id="53" dur="1" fill="hold">
                                          <p:stCondLst>
                                            <p:cond delay="0"/>
                                          </p:stCondLst>
                                        </p:cTn>
                                        <p:tgtEl>
                                          <p:spTgt spid="61"/>
                                        </p:tgtEl>
                                        <p:attrNameLst>
                                          <p:attrName>style.visibility</p:attrName>
                                        </p:attrNameLst>
                                      </p:cBhvr>
                                      <p:to>
                                        <p:strVal val="visible"/>
                                      </p:to>
                                    </p:set>
                                    <p:anim calcmode="lin" valueType="num">
                                      <p:cBhvr>
                                        <p:cTn id="54" dur="500" fill="hold"/>
                                        <p:tgtEl>
                                          <p:spTgt spid="61"/>
                                        </p:tgtEl>
                                        <p:attrNameLst>
                                          <p:attrName>ppt_w</p:attrName>
                                        </p:attrNameLst>
                                      </p:cBhvr>
                                      <p:tavLst>
                                        <p:tav tm="0">
                                          <p:val>
                                            <p:fltVal val="0"/>
                                          </p:val>
                                        </p:tav>
                                        <p:tav tm="100000">
                                          <p:val>
                                            <p:strVal val="#ppt_w"/>
                                          </p:val>
                                        </p:tav>
                                      </p:tavLst>
                                    </p:anim>
                                    <p:anim calcmode="lin" valueType="num">
                                      <p:cBhvr>
                                        <p:cTn id="55" dur="500" fill="hold"/>
                                        <p:tgtEl>
                                          <p:spTgt spid="61"/>
                                        </p:tgtEl>
                                        <p:attrNameLst>
                                          <p:attrName>ppt_h</p:attrName>
                                        </p:attrNameLst>
                                      </p:cBhvr>
                                      <p:tavLst>
                                        <p:tav tm="0">
                                          <p:val>
                                            <p:fltVal val="0"/>
                                          </p:val>
                                        </p:tav>
                                        <p:tav tm="100000">
                                          <p:val>
                                            <p:strVal val="#ppt_h"/>
                                          </p:val>
                                        </p:tav>
                                      </p:tavLst>
                                    </p:anim>
                                    <p:animEffect transition="in" filter="fade">
                                      <p:cBhvr>
                                        <p:cTn id="56" dur="500"/>
                                        <p:tgtEl>
                                          <p:spTgt spid="61"/>
                                        </p:tgtEl>
                                      </p:cBhvr>
                                    </p:animEffect>
                                  </p:childTnLst>
                                </p:cTn>
                              </p:par>
                            </p:childTnLst>
                          </p:cTn>
                        </p:par>
                      </p:childTnLst>
                    </p:cTn>
                  </p:par>
                  <p:par>
                    <p:cTn id="57" fill="hold">
                      <p:stCondLst>
                        <p:cond delay="indefinite"/>
                      </p:stCondLst>
                      <p:childTnLst>
                        <p:par>
                          <p:cTn id="58" fill="hold">
                            <p:stCondLst>
                              <p:cond delay="0"/>
                            </p:stCondLst>
                            <p:childTnLst>
                              <p:par>
                                <p:cTn id="59" presetID="53" presetClass="entr" presetSubtype="16" fill="hold" grpId="0" nodeType="clickEffect">
                                  <p:stCondLst>
                                    <p:cond delay="0"/>
                                  </p:stCondLst>
                                  <p:childTnLst>
                                    <p:set>
                                      <p:cBhvr>
                                        <p:cTn id="60" dur="1" fill="hold">
                                          <p:stCondLst>
                                            <p:cond delay="0"/>
                                          </p:stCondLst>
                                        </p:cTn>
                                        <p:tgtEl>
                                          <p:spTgt spid="5"/>
                                        </p:tgtEl>
                                        <p:attrNameLst>
                                          <p:attrName>style.visibility</p:attrName>
                                        </p:attrNameLst>
                                      </p:cBhvr>
                                      <p:to>
                                        <p:strVal val="visible"/>
                                      </p:to>
                                    </p:set>
                                    <p:anim calcmode="lin" valueType="num">
                                      <p:cBhvr>
                                        <p:cTn id="61" dur="500" fill="hold"/>
                                        <p:tgtEl>
                                          <p:spTgt spid="5"/>
                                        </p:tgtEl>
                                        <p:attrNameLst>
                                          <p:attrName>ppt_w</p:attrName>
                                        </p:attrNameLst>
                                      </p:cBhvr>
                                      <p:tavLst>
                                        <p:tav tm="0">
                                          <p:val>
                                            <p:fltVal val="0"/>
                                          </p:val>
                                        </p:tav>
                                        <p:tav tm="100000">
                                          <p:val>
                                            <p:strVal val="#ppt_w"/>
                                          </p:val>
                                        </p:tav>
                                      </p:tavLst>
                                    </p:anim>
                                    <p:anim calcmode="lin" valueType="num">
                                      <p:cBhvr>
                                        <p:cTn id="62" dur="500" fill="hold"/>
                                        <p:tgtEl>
                                          <p:spTgt spid="5"/>
                                        </p:tgtEl>
                                        <p:attrNameLst>
                                          <p:attrName>ppt_h</p:attrName>
                                        </p:attrNameLst>
                                      </p:cBhvr>
                                      <p:tavLst>
                                        <p:tav tm="0">
                                          <p:val>
                                            <p:fltVal val="0"/>
                                          </p:val>
                                        </p:tav>
                                        <p:tav tm="100000">
                                          <p:val>
                                            <p:strVal val="#ppt_h"/>
                                          </p:val>
                                        </p:tav>
                                      </p:tavLst>
                                    </p:anim>
                                    <p:animEffect transition="in" filter="fade">
                                      <p:cBhvr>
                                        <p:cTn id="63" dur="500"/>
                                        <p:tgtEl>
                                          <p:spTgt spid="5"/>
                                        </p:tgtEl>
                                      </p:cBhvr>
                                    </p:animEffect>
                                  </p:childTnLst>
                                </p:cTn>
                              </p:par>
                              <p:par>
                                <p:cTn id="64" presetID="53" presetClass="entr" presetSubtype="16" fill="hold" nodeType="withEffect">
                                  <p:stCondLst>
                                    <p:cond delay="0"/>
                                  </p:stCondLst>
                                  <p:childTnLst>
                                    <p:set>
                                      <p:cBhvr>
                                        <p:cTn id="65" dur="1" fill="hold">
                                          <p:stCondLst>
                                            <p:cond delay="0"/>
                                          </p:stCondLst>
                                        </p:cTn>
                                        <p:tgtEl>
                                          <p:spTgt spid="79"/>
                                        </p:tgtEl>
                                        <p:attrNameLst>
                                          <p:attrName>style.visibility</p:attrName>
                                        </p:attrNameLst>
                                      </p:cBhvr>
                                      <p:to>
                                        <p:strVal val="visible"/>
                                      </p:to>
                                    </p:set>
                                    <p:anim calcmode="lin" valueType="num">
                                      <p:cBhvr>
                                        <p:cTn id="66" dur="500" fill="hold"/>
                                        <p:tgtEl>
                                          <p:spTgt spid="79"/>
                                        </p:tgtEl>
                                        <p:attrNameLst>
                                          <p:attrName>ppt_w</p:attrName>
                                        </p:attrNameLst>
                                      </p:cBhvr>
                                      <p:tavLst>
                                        <p:tav tm="0">
                                          <p:val>
                                            <p:fltVal val="0"/>
                                          </p:val>
                                        </p:tav>
                                        <p:tav tm="100000">
                                          <p:val>
                                            <p:strVal val="#ppt_w"/>
                                          </p:val>
                                        </p:tav>
                                      </p:tavLst>
                                    </p:anim>
                                    <p:anim calcmode="lin" valueType="num">
                                      <p:cBhvr>
                                        <p:cTn id="67" dur="500" fill="hold"/>
                                        <p:tgtEl>
                                          <p:spTgt spid="79"/>
                                        </p:tgtEl>
                                        <p:attrNameLst>
                                          <p:attrName>ppt_h</p:attrName>
                                        </p:attrNameLst>
                                      </p:cBhvr>
                                      <p:tavLst>
                                        <p:tav tm="0">
                                          <p:val>
                                            <p:fltVal val="0"/>
                                          </p:val>
                                        </p:tav>
                                        <p:tav tm="100000">
                                          <p:val>
                                            <p:strVal val="#ppt_h"/>
                                          </p:val>
                                        </p:tav>
                                      </p:tavLst>
                                    </p:anim>
                                    <p:animEffect transition="in" filter="fade">
                                      <p:cBhvr>
                                        <p:cTn id="68" dur="500"/>
                                        <p:tgtEl>
                                          <p:spTgt spid="79"/>
                                        </p:tgtEl>
                                      </p:cBhvr>
                                    </p:animEffect>
                                  </p:childTnLst>
                                </p:cTn>
                              </p:par>
                              <p:par>
                                <p:cTn id="69" presetID="53" presetClass="entr" presetSubtype="16" fill="hold" nodeType="withEffect">
                                  <p:stCondLst>
                                    <p:cond delay="0"/>
                                  </p:stCondLst>
                                  <p:childTnLst>
                                    <p:set>
                                      <p:cBhvr>
                                        <p:cTn id="70" dur="1" fill="hold">
                                          <p:stCondLst>
                                            <p:cond delay="0"/>
                                          </p:stCondLst>
                                        </p:cTn>
                                        <p:tgtEl>
                                          <p:spTgt spid="81"/>
                                        </p:tgtEl>
                                        <p:attrNameLst>
                                          <p:attrName>style.visibility</p:attrName>
                                        </p:attrNameLst>
                                      </p:cBhvr>
                                      <p:to>
                                        <p:strVal val="visible"/>
                                      </p:to>
                                    </p:set>
                                    <p:anim calcmode="lin" valueType="num">
                                      <p:cBhvr>
                                        <p:cTn id="71" dur="500" fill="hold"/>
                                        <p:tgtEl>
                                          <p:spTgt spid="81"/>
                                        </p:tgtEl>
                                        <p:attrNameLst>
                                          <p:attrName>ppt_w</p:attrName>
                                        </p:attrNameLst>
                                      </p:cBhvr>
                                      <p:tavLst>
                                        <p:tav tm="0">
                                          <p:val>
                                            <p:fltVal val="0"/>
                                          </p:val>
                                        </p:tav>
                                        <p:tav tm="100000">
                                          <p:val>
                                            <p:strVal val="#ppt_w"/>
                                          </p:val>
                                        </p:tav>
                                      </p:tavLst>
                                    </p:anim>
                                    <p:anim calcmode="lin" valueType="num">
                                      <p:cBhvr>
                                        <p:cTn id="72" dur="500" fill="hold"/>
                                        <p:tgtEl>
                                          <p:spTgt spid="81"/>
                                        </p:tgtEl>
                                        <p:attrNameLst>
                                          <p:attrName>ppt_h</p:attrName>
                                        </p:attrNameLst>
                                      </p:cBhvr>
                                      <p:tavLst>
                                        <p:tav tm="0">
                                          <p:val>
                                            <p:fltVal val="0"/>
                                          </p:val>
                                        </p:tav>
                                        <p:tav tm="100000">
                                          <p:val>
                                            <p:strVal val="#ppt_h"/>
                                          </p:val>
                                        </p:tav>
                                      </p:tavLst>
                                    </p:anim>
                                    <p:animEffect transition="in" filter="fade">
                                      <p:cBhvr>
                                        <p:cTn id="73" dur="500"/>
                                        <p:tgtEl>
                                          <p:spTgt spid="81"/>
                                        </p:tgtEl>
                                      </p:cBhvr>
                                    </p:animEffect>
                                  </p:childTnLst>
                                </p:cTn>
                              </p:par>
                              <p:par>
                                <p:cTn id="74" presetID="53" presetClass="entr" presetSubtype="16" fill="hold" nodeType="withEffect">
                                  <p:stCondLst>
                                    <p:cond delay="0"/>
                                  </p:stCondLst>
                                  <p:childTnLst>
                                    <p:set>
                                      <p:cBhvr>
                                        <p:cTn id="75" dur="1" fill="hold">
                                          <p:stCondLst>
                                            <p:cond delay="0"/>
                                          </p:stCondLst>
                                        </p:cTn>
                                        <p:tgtEl>
                                          <p:spTgt spid="72"/>
                                        </p:tgtEl>
                                        <p:attrNameLst>
                                          <p:attrName>style.visibility</p:attrName>
                                        </p:attrNameLst>
                                      </p:cBhvr>
                                      <p:to>
                                        <p:strVal val="visible"/>
                                      </p:to>
                                    </p:set>
                                    <p:anim calcmode="lin" valueType="num">
                                      <p:cBhvr>
                                        <p:cTn id="76" dur="500" fill="hold"/>
                                        <p:tgtEl>
                                          <p:spTgt spid="72"/>
                                        </p:tgtEl>
                                        <p:attrNameLst>
                                          <p:attrName>ppt_w</p:attrName>
                                        </p:attrNameLst>
                                      </p:cBhvr>
                                      <p:tavLst>
                                        <p:tav tm="0">
                                          <p:val>
                                            <p:fltVal val="0"/>
                                          </p:val>
                                        </p:tav>
                                        <p:tav tm="100000">
                                          <p:val>
                                            <p:strVal val="#ppt_w"/>
                                          </p:val>
                                        </p:tav>
                                      </p:tavLst>
                                    </p:anim>
                                    <p:anim calcmode="lin" valueType="num">
                                      <p:cBhvr>
                                        <p:cTn id="77" dur="500" fill="hold"/>
                                        <p:tgtEl>
                                          <p:spTgt spid="72"/>
                                        </p:tgtEl>
                                        <p:attrNameLst>
                                          <p:attrName>ppt_h</p:attrName>
                                        </p:attrNameLst>
                                      </p:cBhvr>
                                      <p:tavLst>
                                        <p:tav tm="0">
                                          <p:val>
                                            <p:fltVal val="0"/>
                                          </p:val>
                                        </p:tav>
                                        <p:tav tm="100000">
                                          <p:val>
                                            <p:strVal val="#ppt_h"/>
                                          </p:val>
                                        </p:tav>
                                      </p:tavLst>
                                    </p:anim>
                                    <p:animEffect transition="in" filter="fade">
                                      <p:cBhvr>
                                        <p:cTn id="78" dur="500"/>
                                        <p:tgtEl>
                                          <p:spTgt spid="72"/>
                                        </p:tgtEl>
                                      </p:cBhvr>
                                    </p:animEffect>
                                  </p:childTnLst>
                                </p:cTn>
                              </p:par>
                              <p:par>
                                <p:cTn id="79" presetID="53" presetClass="entr" presetSubtype="16" fill="hold" grpId="0" nodeType="withEffect">
                                  <p:stCondLst>
                                    <p:cond delay="0"/>
                                  </p:stCondLst>
                                  <p:childTnLst>
                                    <p:set>
                                      <p:cBhvr>
                                        <p:cTn id="80" dur="1" fill="hold">
                                          <p:stCondLst>
                                            <p:cond delay="0"/>
                                          </p:stCondLst>
                                        </p:cTn>
                                        <p:tgtEl>
                                          <p:spTgt spid="11"/>
                                        </p:tgtEl>
                                        <p:attrNameLst>
                                          <p:attrName>style.visibility</p:attrName>
                                        </p:attrNameLst>
                                      </p:cBhvr>
                                      <p:to>
                                        <p:strVal val="visible"/>
                                      </p:to>
                                    </p:set>
                                    <p:anim calcmode="lin" valueType="num">
                                      <p:cBhvr>
                                        <p:cTn id="81" dur="500" fill="hold"/>
                                        <p:tgtEl>
                                          <p:spTgt spid="11"/>
                                        </p:tgtEl>
                                        <p:attrNameLst>
                                          <p:attrName>ppt_w</p:attrName>
                                        </p:attrNameLst>
                                      </p:cBhvr>
                                      <p:tavLst>
                                        <p:tav tm="0">
                                          <p:val>
                                            <p:fltVal val="0"/>
                                          </p:val>
                                        </p:tav>
                                        <p:tav tm="100000">
                                          <p:val>
                                            <p:strVal val="#ppt_w"/>
                                          </p:val>
                                        </p:tav>
                                      </p:tavLst>
                                    </p:anim>
                                    <p:anim calcmode="lin" valueType="num">
                                      <p:cBhvr>
                                        <p:cTn id="82" dur="500" fill="hold"/>
                                        <p:tgtEl>
                                          <p:spTgt spid="11"/>
                                        </p:tgtEl>
                                        <p:attrNameLst>
                                          <p:attrName>ppt_h</p:attrName>
                                        </p:attrNameLst>
                                      </p:cBhvr>
                                      <p:tavLst>
                                        <p:tav tm="0">
                                          <p:val>
                                            <p:fltVal val="0"/>
                                          </p:val>
                                        </p:tav>
                                        <p:tav tm="100000">
                                          <p:val>
                                            <p:strVal val="#ppt_h"/>
                                          </p:val>
                                        </p:tav>
                                      </p:tavLst>
                                    </p:anim>
                                    <p:animEffect transition="in" filter="fade">
                                      <p:cBhvr>
                                        <p:cTn id="83" dur="500"/>
                                        <p:tgtEl>
                                          <p:spTgt spid="11"/>
                                        </p:tgtEl>
                                      </p:cBhvr>
                                    </p:animEffect>
                                  </p:childTnLst>
                                </p:cTn>
                              </p:par>
                              <p:par>
                                <p:cTn id="84" presetID="53" presetClass="entr" presetSubtype="16" fill="hold" grpId="0" nodeType="withEffect">
                                  <p:stCondLst>
                                    <p:cond delay="0"/>
                                  </p:stCondLst>
                                  <p:childTnLst>
                                    <p:set>
                                      <p:cBhvr>
                                        <p:cTn id="85" dur="1" fill="hold">
                                          <p:stCondLst>
                                            <p:cond delay="0"/>
                                          </p:stCondLst>
                                        </p:cTn>
                                        <p:tgtEl>
                                          <p:spTgt spid="84"/>
                                        </p:tgtEl>
                                        <p:attrNameLst>
                                          <p:attrName>style.visibility</p:attrName>
                                        </p:attrNameLst>
                                      </p:cBhvr>
                                      <p:to>
                                        <p:strVal val="visible"/>
                                      </p:to>
                                    </p:set>
                                    <p:anim calcmode="lin" valueType="num">
                                      <p:cBhvr>
                                        <p:cTn id="86" dur="500" fill="hold"/>
                                        <p:tgtEl>
                                          <p:spTgt spid="84"/>
                                        </p:tgtEl>
                                        <p:attrNameLst>
                                          <p:attrName>ppt_w</p:attrName>
                                        </p:attrNameLst>
                                      </p:cBhvr>
                                      <p:tavLst>
                                        <p:tav tm="0">
                                          <p:val>
                                            <p:fltVal val="0"/>
                                          </p:val>
                                        </p:tav>
                                        <p:tav tm="100000">
                                          <p:val>
                                            <p:strVal val="#ppt_w"/>
                                          </p:val>
                                        </p:tav>
                                      </p:tavLst>
                                    </p:anim>
                                    <p:anim calcmode="lin" valueType="num">
                                      <p:cBhvr>
                                        <p:cTn id="87" dur="500" fill="hold"/>
                                        <p:tgtEl>
                                          <p:spTgt spid="84"/>
                                        </p:tgtEl>
                                        <p:attrNameLst>
                                          <p:attrName>ppt_h</p:attrName>
                                        </p:attrNameLst>
                                      </p:cBhvr>
                                      <p:tavLst>
                                        <p:tav tm="0">
                                          <p:val>
                                            <p:fltVal val="0"/>
                                          </p:val>
                                        </p:tav>
                                        <p:tav tm="100000">
                                          <p:val>
                                            <p:strVal val="#ppt_h"/>
                                          </p:val>
                                        </p:tav>
                                      </p:tavLst>
                                    </p:anim>
                                    <p:animEffect transition="in" filter="fade">
                                      <p:cBhvr>
                                        <p:cTn id="88" dur="500"/>
                                        <p:tgtEl>
                                          <p:spTgt spid="84"/>
                                        </p:tgtEl>
                                      </p:cBhvr>
                                    </p:animEffect>
                                  </p:childTnLst>
                                </p:cTn>
                              </p:par>
                              <p:par>
                                <p:cTn id="89" presetID="53" presetClass="entr" presetSubtype="16" fill="hold" grpId="0" nodeType="withEffect">
                                  <p:stCondLst>
                                    <p:cond delay="0"/>
                                  </p:stCondLst>
                                  <p:childTnLst>
                                    <p:set>
                                      <p:cBhvr>
                                        <p:cTn id="90" dur="1" fill="hold">
                                          <p:stCondLst>
                                            <p:cond delay="0"/>
                                          </p:stCondLst>
                                        </p:cTn>
                                        <p:tgtEl>
                                          <p:spTgt spid="8"/>
                                        </p:tgtEl>
                                        <p:attrNameLst>
                                          <p:attrName>style.visibility</p:attrName>
                                        </p:attrNameLst>
                                      </p:cBhvr>
                                      <p:to>
                                        <p:strVal val="visible"/>
                                      </p:to>
                                    </p:set>
                                    <p:anim calcmode="lin" valueType="num">
                                      <p:cBhvr>
                                        <p:cTn id="91" dur="500" fill="hold"/>
                                        <p:tgtEl>
                                          <p:spTgt spid="8"/>
                                        </p:tgtEl>
                                        <p:attrNameLst>
                                          <p:attrName>ppt_w</p:attrName>
                                        </p:attrNameLst>
                                      </p:cBhvr>
                                      <p:tavLst>
                                        <p:tav tm="0">
                                          <p:val>
                                            <p:fltVal val="0"/>
                                          </p:val>
                                        </p:tav>
                                        <p:tav tm="100000">
                                          <p:val>
                                            <p:strVal val="#ppt_w"/>
                                          </p:val>
                                        </p:tav>
                                      </p:tavLst>
                                    </p:anim>
                                    <p:anim calcmode="lin" valueType="num">
                                      <p:cBhvr>
                                        <p:cTn id="92" dur="500" fill="hold"/>
                                        <p:tgtEl>
                                          <p:spTgt spid="8"/>
                                        </p:tgtEl>
                                        <p:attrNameLst>
                                          <p:attrName>ppt_h</p:attrName>
                                        </p:attrNameLst>
                                      </p:cBhvr>
                                      <p:tavLst>
                                        <p:tav tm="0">
                                          <p:val>
                                            <p:fltVal val="0"/>
                                          </p:val>
                                        </p:tav>
                                        <p:tav tm="100000">
                                          <p:val>
                                            <p:strVal val="#ppt_h"/>
                                          </p:val>
                                        </p:tav>
                                      </p:tavLst>
                                    </p:anim>
                                    <p:animEffect transition="in" filter="fade">
                                      <p:cBhvr>
                                        <p:cTn id="93" dur="500"/>
                                        <p:tgtEl>
                                          <p:spTgt spid="8"/>
                                        </p:tgtEl>
                                      </p:cBhvr>
                                    </p:animEffect>
                                  </p:childTnLst>
                                </p:cTn>
                              </p:par>
                              <p:par>
                                <p:cTn id="94" presetID="53" presetClass="entr" presetSubtype="16" fill="hold" grpId="0" nodeType="withEffect">
                                  <p:stCondLst>
                                    <p:cond delay="0"/>
                                  </p:stCondLst>
                                  <p:childTnLst>
                                    <p:set>
                                      <p:cBhvr>
                                        <p:cTn id="95" dur="1" fill="hold">
                                          <p:stCondLst>
                                            <p:cond delay="0"/>
                                          </p:stCondLst>
                                        </p:cTn>
                                        <p:tgtEl>
                                          <p:spTgt spid="75"/>
                                        </p:tgtEl>
                                        <p:attrNameLst>
                                          <p:attrName>style.visibility</p:attrName>
                                        </p:attrNameLst>
                                      </p:cBhvr>
                                      <p:to>
                                        <p:strVal val="visible"/>
                                      </p:to>
                                    </p:set>
                                    <p:anim calcmode="lin" valueType="num">
                                      <p:cBhvr>
                                        <p:cTn id="96" dur="500" fill="hold"/>
                                        <p:tgtEl>
                                          <p:spTgt spid="75"/>
                                        </p:tgtEl>
                                        <p:attrNameLst>
                                          <p:attrName>ppt_w</p:attrName>
                                        </p:attrNameLst>
                                      </p:cBhvr>
                                      <p:tavLst>
                                        <p:tav tm="0">
                                          <p:val>
                                            <p:fltVal val="0"/>
                                          </p:val>
                                        </p:tav>
                                        <p:tav tm="100000">
                                          <p:val>
                                            <p:strVal val="#ppt_w"/>
                                          </p:val>
                                        </p:tav>
                                      </p:tavLst>
                                    </p:anim>
                                    <p:anim calcmode="lin" valueType="num">
                                      <p:cBhvr>
                                        <p:cTn id="97" dur="500" fill="hold"/>
                                        <p:tgtEl>
                                          <p:spTgt spid="75"/>
                                        </p:tgtEl>
                                        <p:attrNameLst>
                                          <p:attrName>ppt_h</p:attrName>
                                        </p:attrNameLst>
                                      </p:cBhvr>
                                      <p:tavLst>
                                        <p:tav tm="0">
                                          <p:val>
                                            <p:fltVal val="0"/>
                                          </p:val>
                                        </p:tav>
                                        <p:tav tm="100000">
                                          <p:val>
                                            <p:strVal val="#ppt_h"/>
                                          </p:val>
                                        </p:tav>
                                      </p:tavLst>
                                    </p:anim>
                                    <p:animEffect transition="in" filter="fade">
                                      <p:cBhvr>
                                        <p:cTn id="98" dur="500"/>
                                        <p:tgtEl>
                                          <p:spTgt spid="75"/>
                                        </p:tgtEl>
                                      </p:cBhvr>
                                    </p:animEffect>
                                  </p:childTnLst>
                                </p:cTn>
                              </p:par>
                              <p:par>
                                <p:cTn id="99" presetID="53" presetClass="entr" presetSubtype="16" fill="hold" grpId="0" nodeType="withEffect">
                                  <p:stCondLst>
                                    <p:cond delay="0"/>
                                  </p:stCondLst>
                                  <p:childTnLst>
                                    <p:set>
                                      <p:cBhvr>
                                        <p:cTn id="100" dur="1" fill="hold">
                                          <p:stCondLst>
                                            <p:cond delay="0"/>
                                          </p:stCondLst>
                                        </p:cTn>
                                        <p:tgtEl>
                                          <p:spTgt spid="6"/>
                                        </p:tgtEl>
                                        <p:attrNameLst>
                                          <p:attrName>style.visibility</p:attrName>
                                        </p:attrNameLst>
                                      </p:cBhvr>
                                      <p:to>
                                        <p:strVal val="visible"/>
                                      </p:to>
                                    </p:set>
                                    <p:anim calcmode="lin" valueType="num">
                                      <p:cBhvr>
                                        <p:cTn id="101" dur="500" fill="hold"/>
                                        <p:tgtEl>
                                          <p:spTgt spid="6"/>
                                        </p:tgtEl>
                                        <p:attrNameLst>
                                          <p:attrName>ppt_w</p:attrName>
                                        </p:attrNameLst>
                                      </p:cBhvr>
                                      <p:tavLst>
                                        <p:tav tm="0">
                                          <p:val>
                                            <p:fltVal val="0"/>
                                          </p:val>
                                        </p:tav>
                                        <p:tav tm="100000">
                                          <p:val>
                                            <p:strVal val="#ppt_w"/>
                                          </p:val>
                                        </p:tav>
                                      </p:tavLst>
                                    </p:anim>
                                    <p:anim calcmode="lin" valueType="num">
                                      <p:cBhvr>
                                        <p:cTn id="102" dur="500" fill="hold"/>
                                        <p:tgtEl>
                                          <p:spTgt spid="6"/>
                                        </p:tgtEl>
                                        <p:attrNameLst>
                                          <p:attrName>ppt_h</p:attrName>
                                        </p:attrNameLst>
                                      </p:cBhvr>
                                      <p:tavLst>
                                        <p:tav tm="0">
                                          <p:val>
                                            <p:fltVal val="0"/>
                                          </p:val>
                                        </p:tav>
                                        <p:tav tm="100000">
                                          <p:val>
                                            <p:strVal val="#ppt_h"/>
                                          </p:val>
                                        </p:tav>
                                      </p:tavLst>
                                    </p:anim>
                                    <p:animEffect transition="in" filter="fade">
                                      <p:cBhvr>
                                        <p:cTn id="103" dur="500"/>
                                        <p:tgtEl>
                                          <p:spTgt spid="6"/>
                                        </p:tgtEl>
                                      </p:cBhvr>
                                    </p:animEffect>
                                  </p:childTnLst>
                                </p:cTn>
                              </p:par>
                              <p:par>
                                <p:cTn id="104" presetID="53" presetClass="entr" presetSubtype="16" fill="hold" grpId="0" nodeType="withEffect">
                                  <p:stCondLst>
                                    <p:cond delay="0"/>
                                  </p:stCondLst>
                                  <p:childTnLst>
                                    <p:set>
                                      <p:cBhvr>
                                        <p:cTn id="105" dur="1" fill="hold">
                                          <p:stCondLst>
                                            <p:cond delay="0"/>
                                          </p:stCondLst>
                                        </p:cTn>
                                        <p:tgtEl>
                                          <p:spTgt spid="7"/>
                                        </p:tgtEl>
                                        <p:attrNameLst>
                                          <p:attrName>style.visibility</p:attrName>
                                        </p:attrNameLst>
                                      </p:cBhvr>
                                      <p:to>
                                        <p:strVal val="visible"/>
                                      </p:to>
                                    </p:set>
                                    <p:anim calcmode="lin" valueType="num">
                                      <p:cBhvr>
                                        <p:cTn id="106" dur="500" fill="hold"/>
                                        <p:tgtEl>
                                          <p:spTgt spid="7"/>
                                        </p:tgtEl>
                                        <p:attrNameLst>
                                          <p:attrName>ppt_w</p:attrName>
                                        </p:attrNameLst>
                                      </p:cBhvr>
                                      <p:tavLst>
                                        <p:tav tm="0">
                                          <p:val>
                                            <p:fltVal val="0"/>
                                          </p:val>
                                        </p:tav>
                                        <p:tav tm="100000">
                                          <p:val>
                                            <p:strVal val="#ppt_w"/>
                                          </p:val>
                                        </p:tav>
                                      </p:tavLst>
                                    </p:anim>
                                    <p:anim calcmode="lin" valueType="num">
                                      <p:cBhvr>
                                        <p:cTn id="107" dur="500" fill="hold"/>
                                        <p:tgtEl>
                                          <p:spTgt spid="7"/>
                                        </p:tgtEl>
                                        <p:attrNameLst>
                                          <p:attrName>ppt_h</p:attrName>
                                        </p:attrNameLst>
                                      </p:cBhvr>
                                      <p:tavLst>
                                        <p:tav tm="0">
                                          <p:val>
                                            <p:fltVal val="0"/>
                                          </p:val>
                                        </p:tav>
                                        <p:tav tm="100000">
                                          <p:val>
                                            <p:strVal val="#ppt_h"/>
                                          </p:val>
                                        </p:tav>
                                      </p:tavLst>
                                    </p:anim>
                                    <p:animEffect transition="in" filter="fade">
                                      <p:cBhvr>
                                        <p:cTn id="108" dur="500"/>
                                        <p:tgtEl>
                                          <p:spTgt spid="7"/>
                                        </p:tgtEl>
                                      </p:cBhvr>
                                    </p:animEffect>
                                  </p:childTnLst>
                                </p:cTn>
                              </p:par>
                              <p:par>
                                <p:cTn id="109" presetID="53" presetClass="entr" presetSubtype="16" fill="hold" grpId="0" nodeType="withEffect">
                                  <p:stCondLst>
                                    <p:cond delay="0"/>
                                  </p:stCondLst>
                                  <p:childTnLst>
                                    <p:set>
                                      <p:cBhvr>
                                        <p:cTn id="110" dur="1" fill="hold">
                                          <p:stCondLst>
                                            <p:cond delay="0"/>
                                          </p:stCondLst>
                                        </p:cTn>
                                        <p:tgtEl>
                                          <p:spTgt spid="74"/>
                                        </p:tgtEl>
                                        <p:attrNameLst>
                                          <p:attrName>style.visibility</p:attrName>
                                        </p:attrNameLst>
                                      </p:cBhvr>
                                      <p:to>
                                        <p:strVal val="visible"/>
                                      </p:to>
                                    </p:set>
                                    <p:anim calcmode="lin" valueType="num">
                                      <p:cBhvr>
                                        <p:cTn id="111" dur="500" fill="hold"/>
                                        <p:tgtEl>
                                          <p:spTgt spid="74"/>
                                        </p:tgtEl>
                                        <p:attrNameLst>
                                          <p:attrName>ppt_w</p:attrName>
                                        </p:attrNameLst>
                                      </p:cBhvr>
                                      <p:tavLst>
                                        <p:tav tm="0">
                                          <p:val>
                                            <p:fltVal val="0"/>
                                          </p:val>
                                        </p:tav>
                                        <p:tav tm="100000">
                                          <p:val>
                                            <p:strVal val="#ppt_w"/>
                                          </p:val>
                                        </p:tav>
                                      </p:tavLst>
                                    </p:anim>
                                    <p:anim calcmode="lin" valueType="num">
                                      <p:cBhvr>
                                        <p:cTn id="112" dur="500" fill="hold"/>
                                        <p:tgtEl>
                                          <p:spTgt spid="74"/>
                                        </p:tgtEl>
                                        <p:attrNameLst>
                                          <p:attrName>ppt_h</p:attrName>
                                        </p:attrNameLst>
                                      </p:cBhvr>
                                      <p:tavLst>
                                        <p:tav tm="0">
                                          <p:val>
                                            <p:fltVal val="0"/>
                                          </p:val>
                                        </p:tav>
                                        <p:tav tm="100000">
                                          <p:val>
                                            <p:strVal val="#ppt_h"/>
                                          </p:val>
                                        </p:tav>
                                      </p:tavLst>
                                    </p:anim>
                                    <p:animEffect transition="in" filter="fade">
                                      <p:cBhvr>
                                        <p:cTn id="113" dur="500"/>
                                        <p:tgtEl>
                                          <p:spTgt spid="74"/>
                                        </p:tgtEl>
                                      </p:cBhvr>
                                    </p:animEffect>
                                  </p:childTnLst>
                                </p:cTn>
                              </p:par>
                              <p:par>
                                <p:cTn id="114" presetID="53" presetClass="entr" presetSubtype="16" fill="hold" grpId="0" nodeType="withEffect">
                                  <p:stCondLst>
                                    <p:cond delay="0"/>
                                  </p:stCondLst>
                                  <p:childTnLst>
                                    <p:set>
                                      <p:cBhvr>
                                        <p:cTn id="115" dur="1" fill="hold">
                                          <p:stCondLst>
                                            <p:cond delay="0"/>
                                          </p:stCondLst>
                                        </p:cTn>
                                        <p:tgtEl>
                                          <p:spTgt spid="83"/>
                                        </p:tgtEl>
                                        <p:attrNameLst>
                                          <p:attrName>style.visibility</p:attrName>
                                        </p:attrNameLst>
                                      </p:cBhvr>
                                      <p:to>
                                        <p:strVal val="visible"/>
                                      </p:to>
                                    </p:set>
                                    <p:anim calcmode="lin" valueType="num">
                                      <p:cBhvr>
                                        <p:cTn id="116" dur="500" fill="hold"/>
                                        <p:tgtEl>
                                          <p:spTgt spid="83"/>
                                        </p:tgtEl>
                                        <p:attrNameLst>
                                          <p:attrName>ppt_w</p:attrName>
                                        </p:attrNameLst>
                                      </p:cBhvr>
                                      <p:tavLst>
                                        <p:tav tm="0">
                                          <p:val>
                                            <p:fltVal val="0"/>
                                          </p:val>
                                        </p:tav>
                                        <p:tav tm="100000">
                                          <p:val>
                                            <p:strVal val="#ppt_w"/>
                                          </p:val>
                                        </p:tav>
                                      </p:tavLst>
                                    </p:anim>
                                    <p:anim calcmode="lin" valueType="num">
                                      <p:cBhvr>
                                        <p:cTn id="117" dur="500" fill="hold"/>
                                        <p:tgtEl>
                                          <p:spTgt spid="83"/>
                                        </p:tgtEl>
                                        <p:attrNameLst>
                                          <p:attrName>ppt_h</p:attrName>
                                        </p:attrNameLst>
                                      </p:cBhvr>
                                      <p:tavLst>
                                        <p:tav tm="0">
                                          <p:val>
                                            <p:fltVal val="0"/>
                                          </p:val>
                                        </p:tav>
                                        <p:tav tm="100000">
                                          <p:val>
                                            <p:strVal val="#ppt_h"/>
                                          </p:val>
                                        </p:tav>
                                      </p:tavLst>
                                    </p:anim>
                                    <p:animEffect transition="in" filter="fade">
                                      <p:cBhvr>
                                        <p:cTn id="118" dur="500"/>
                                        <p:tgtEl>
                                          <p:spTgt spid="83"/>
                                        </p:tgtEl>
                                      </p:cBhvr>
                                    </p:animEffect>
                                  </p:childTnLst>
                                </p:cTn>
                              </p:par>
                              <p:par>
                                <p:cTn id="119" presetID="53" presetClass="entr" presetSubtype="16" fill="hold" grpId="0" nodeType="withEffect">
                                  <p:stCondLst>
                                    <p:cond delay="0"/>
                                  </p:stCondLst>
                                  <p:childTnLst>
                                    <p:set>
                                      <p:cBhvr>
                                        <p:cTn id="120" dur="1" fill="hold">
                                          <p:stCondLst>
                                            <p:cond delay="0"/>
                                          </p:stCondLst>
                                        </p:cTn>
                                        <p:tgtEl>
                                          <p:spTgt spid="14"/>
                                        </p:tgtEl>
                                        <p:attrNameLst>
                                          <p:attrName>style.visibility</p:attrName>
                                        </p:attrNameLst>
                                      </p:cBhvr>
                                      <p:to>
                                        <p:strVal val="visible"/>
                                      </p:to>
                                    </p:set>
                                    <p:anim calcmode="lin" valueType="num">
                                      <p:cBhvr>
                                        <p:cTn id="121" dur="500" fill="hold"/>
                                        <p:tgtEl>
                                          <p:spTgt spid="14"/>
                                        </p:tgtEl>
                                        <p:attrNameLst>
                                          <p:attrName>ppt_w</p:attrName>
                                        </p:attrNameLst>
                                      </p:cBhvr>
                                      <p:tavLst>
                                        <p:tav tm="0">
                                          <p:val>
                                            <p:fltVal val="0"/>
                                          </p:val>
                                        </p:tav>
                                        <p:tav tm="100000">
                                          <p:val>
                                            <p:strVal val="#ppt_w"/>
                                          </p:val>
                                        </p:tav>
                                      </p:tavLst>
                                    </p:anim>
                                    <p:anim calcmode="lin" valueType="num">
                                      <p:cBhvr>
                                        <p:cTn id="122" dur="500" fill="hold"/>
                                        <p:tgtEl>
                                          <p:spTgt spid="14"/>
                                        </p:tgtEl>
                                        <p:attrNameLst>
                                          <p:attrName>ppt_h</p:attrName>
                                        </p:attrNameLst>
                                      </p:cBhvr>
                                      <p:tavLst>
                                        <p:tav tm="0">
                                          <p:val>
                                            <p:fltVal val="0"/>
                                          </p:val>
                                        </p:tav>
                                        <p:tav tm="100000">
                                          <p:val>
                                            <p:strVal val="#ppt_h"/>
                                          </p:val>
                                        </p:tav>
                                      </p:tavLst>
                                    </p:anim>
                                    <p:animEffect transition="in" filter="fade">
                                      <p:cBhvr>
                                        <p:cTn id="123" dur="500"/>
                                        <p:tgtEl>
                                          <p:spTgt spid="14"/>
                                        </p:tgtEl>
                                      </p:cBhvr>
                                    </p:animEffect>
                                  </p:childTnLst>
                                </p:cTn>
                              </p:par>
                            </p:childTnLst>
                          </p:cTn>
                        </p:par>
                      </p:childTnLst>
                    </p:cTn>
                  </p:par>
                  <p:par>
                    <p:cTn id="124" fill="hold">
                      <p:stCondLst>
                        <p:cond delay="indefinite"/>
                      </p:stCondLst>
                      <p:childTnLst>
                        <p:par>
                          <p:cTn id="125" fill="hold">
                            <p:stCondLst>
                              <p:cond delay="0"/>
                            </p:stCondLst>
                            <p:childTnLst>
                              <p:par>
                                <p:cTn id="126" presetID="53" presetClass="entr" presetSubtype="16" fill="hold" grpId="0" nodeType="clickEffect">
                                  <p:stCondLst>
                                    <p:cond delay="0"/>
                                  </p:stCondLst>
                                  <p:childTnLst>
                                    <p:set>
                                      <p:cBhvr>
                                        <p:cTn id="127" dur="1" fill="hold">
                                          <p:stCondLst>
                                            <p:cond delay="0"/>
                                          </p:stCondLst>
                                        </p:cTn>
                                        <p:tgtEl>
                                          <p:spTgt spid="69"/>
                                        </p:tgtEl>
                                        <p:attrNameLst>
                                          <p:attrName>style.visibility</p:attrName>
                                        </p:attrNameLst>
                                      </p:cBhvr>
                                      <p:to>
                                        <p:strVal val="visible"/>
                                      </p:to>
                                    </p:set>
                                    <p:anim calcmode="lin" valueType="num">
                                      <p:cBhvr>
                                        <p:cTn id="128" dur="500" fill="hold"/>
                                        <p:tgtEl>
                                          <p:spTgt spid="69"/>
                                        </p:tgtEl>
                                        <p:attrNameLst>
                                          <p:attrName>ppt_w</p:attrName>
                                        </p:attrNameLst>
                                      </p:cBhvr>
                                      <p:tavLst>
                                        <p:tav tm="0">
                                          <p:val>
                                            <p:fltVal val="0"/>
                                          </p:val>
                                        </p:tav>
                                        <p:tav tm="100000">
                                          <p:val>
                                            <p:strVal val="#ppt_w"/>
                                          </p:val>
                                        </p:tav>
                                      </p:tavLst>
                                    </p:anim>
                                    <p:anim calcmode="lin" valueType="num">
                                      <p:cBhvr>
                                        <p:cTn id="129" dur="500" fill="hold"/>
                                        <p:tgtEl>
                                          <p:spTgt spid="69"/>
                                        </p:tgtEl>
                                        <p:attrNameLst>
                                          <p:attrName>ppt_h</p:attrName>
                                        </p:attrNameLst>
                                      </p:cBhvr>
                                      <p:tavLst>
                                        <p:tav tm="0">
                                          <p:val>
                                            <p:fltVal val="0"/>
                                          </p:val>
                                        </p:tav>
                                        <p:tav tm="100000">
                                          <p:val>
                                            <p:strVal val="#ppt_h"/>
                                          </p:val>
                                        </p:tav>
                                      </p:tavLst>
                                    </p:anim>
                                    <p:animEffect transition="in" filter="fade">
                                      <p:cBhvr>
                                        <p:cTn id="130" dur="50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p:bldP spid="59" grpId="0"/>
      <p:bldP spid="62" grpId="0"/>
      <p:bldP spid="63" grpId="0"/>
      <p:bldP spid="67" grpId="0"/>
      <p:bldP spid="68" grpId="0"/>
      <p:bldP spid="69" grpId="0" animBg="1"/>
      <p:bldP spid="74" grpId="0"/>
      <p:bldP spid="75" grpId="0" animBg="1"/>
      <p:bldP spid="83" grpId="0"/>
      <p:bldP spid="84" grpId="0"/>
      <p:bldP spid="3" grpId="0"/>
      <p:bldP spid="5" grpId="0"/>
      <p:bldP spid="6" grpId="0"/>
      <p:bldP spid="7" grpId="0"/>
      <p:bldP spid="8" grpId="0"/>
      <p:bldP spid="11" grpId="0"/>
      <p:bldP spid="14" grpId="0"/>
      <p:bldP spid="1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1060582" y="443283"/>
            <a:ext cx="9144000" cy="7316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i="1" u="sng">
                <a:solidFill>
                  <a:schemeClr val="accent1">
                    <a:lumMod val="50000"/>
                  </a:schemeClr>
                </a:solidFill>
                <a:latin typeface="Calibri Light" panose="020F0302020204030204" pitchFamily="34" charset="0"/>
              </a:rPr>
              <a:t>Weather Datasets in ARD </a:t>
            </a:r>
            <a:endParaRPr lang="en-US" sz="4000" i="1" u="sng">
              <a:solidFill>
                <a:schemeClr val="accent1">
                  <a:lumMod val="50000"/>
                </a:schemeClr>
              </a:solidFill>
            </a:endParaRPr>
          </a:p>
        </p:txBody>
      </p:sp>
      <p:sp>
        <p:nvSpPr>
          <p:cNvPr id="4" name="Text Placeholder 3">
            <a:extLst>
              <a:ext uri="{FF2B5EF4-FFF2-40B4-BE49-F238E27FC236}">
                <a16:creationId xmlns:a16="http://schemas.microsoft.com/office/drawing/2014/main" id="{59A6018B-9E1B-2CF1-7DA2-59B339EE12B2}"/>
              </a:ext>
            </a:extLst>
          </p:cNvPr>
          <p:cNvSpPr txBox="1">
            <a:spLocks/>
          </p:cNvSpPr>
          <p:nvPr/>
        </p:nvSpPr>
        <p:spPr>
          <a:xfrm>
            <a:off x="1060581" y="1228546"/>
            <a:ext cx="10658667" cy="606580"/>
          </a:xfrm>
          <a:prstGeom prst="rect">
            <a:avLst/>
          </a:prstGeom>
        </p:spPr>
        <p:txBody>
          <a:bodyP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a:t>ML/DL models have been used to generate daily data records for a 22 years timeline at high spatial resolution (4km) for </a:t>
            </a:r>
            <a:r>
              <a:rPr lang="en-US" sz="2000">
                <a:solidFill>
                  <a:srgbClr val="0070C0"/>
                </a:solidFill>
              </a:rPr>
              <a:t>six (6) weather variables</a:t>
            </a:r>
            <a:r>
              <a:rPr lang="en-US" sz="2000"/>
              <a:t>.  </a:t>
            </a:r>
          </a:p>
        </p:txBody>
      </p:sp>
      <p:sp>
        <p:nvSpPr>
          <p:cNvPr id="14" name="TextBox 13">
            <a:extLst>
              <a:ext uri="{FF2B5EF4-FFF2-40B4-BE49-F238E27FC236}">
                <a16:creationId xmlns:a16="http://schemas.microsoft.com/office/drawing/2014/main" id="{C1FF783D-9D48-5F9F-F53C-427DF5C7F34C}"/>
              </a:ext>
            </a:extLst>
          </p:cNvPr>
          <p:cNvSpPr txBox="1"/>
          <p:nvPr/>
        </p:nvSpPr>
        <p:spPr>
          <a:xfrm>
            <a:off x="1060581" y="4567649"/>
            <a:ext cx="10733312" cy="1631216"/>
          </a:xfrm>
          <a:prstGeom prst="rect">
            <a:avLst/>
          </a:prstGeom>
          <a:noFill/>
        </p:spPr>
        <p:txBody>
          <a:bodyPr wrap="square">
            <a:spAutoFit/>
          </a:bodyPr>
          <a:lstStyle/>
          <a:p>
            <a:r>
              <a:rPr lang="en-US" sz="2000" b="1">
                <a:solidFill>
                  <a:schemeClr val="accent6">
                    <a:lumMod val="75000"/>
                  </a:schemeClr>
                </a:solidFill>
              </a:rPr>
              <a:t>Three (03) </a:t>
            </a:r>
            <a:r>
              <a:rPr lang="en-US" sz="2000" b="1"/>
              <a:t>weather variables directly resampled to 4km due to unavailability of TWC dataset as observed/training data- </a:t>
            </a:r>
          </a:p>
          <a:p>
            <a:pPr marL="971550" lvl="1" indent="-514350">
              <a:buFont typeface="+mj-lt"/>
              <a:buAutoNum type="romanLcPeriod" startAt="7"/>
            </a:pPr>
            <a:r>
              <a:rPr lang="en-US" sz="2000">
                <a:solidFill>
                  <a:schemeClr val="accent6">
                    <a:lumMod val="75000"/>
                  </a:schemeClr>
                </a:solidFill>
              </a:rPr>
              <a:t>Max Relative Humidity</a:t>
            </a:r>
          </a:p>
          <a:p>
            <a:pPr marL="971550" lvl="1" indent="-514350">
              <a:buFont typeface="+mj-lt"/>
              <a:buAutoNum type="romanLcPeriod" startAt="7"/>
            </a:pPr>
            <a:r>
              <a:rPr lang="en-US" sz="2000">
                <a:solidFill>
                  <a:schemeClr val="accent6">
                    <a:lumMod val="75000"/>
                  </a:schemeClr>
                </a:solidFill>
              </a:rPr>
              <a:t>Min Relative Humidity</a:t>
            </a:r>
          </a:p>
          <a:p>
            <a:pPr marL="971550" lvl="1" indent="-514350">
              <a:buFont typeface="+mj-lt"/>
              <a:buAutoNum type="romanLcPeriod" startAt="7"/>
            </a:pPr>
            <a:r>
              <a:rPr lang="en-US" sz="2000">
                <a:solidFill>
                  <a:schemeClr val="accent6">
                    <a:lumMod val="75000"/>
                  </a:schemeClr>
                </a:solidFill>
              </a:rPr>
              <a:t>Total Net Solar Radiation</a:t>
            </a:r>
          </a:p>
        </p:txBody>
      </p:sp>
      <p:sp>
        <p:nvSpPr>
          <p:cNvPr id="18" name="TextBox 17">
            <a:extLst>
              <a:ext uri="{FF2B5EF4-FFF2-40B4-BE49-F238E27FC236}">
                <a16:creationId xmlns:a16="http://schemas.microsoft.com/office/drawing/2014/main" id="{40D5597F-54EF-1475-073B-DAC1B7EDD096}"/>
              </a:ext>
            </a:extLst>
          </p:cNvPr>
          <p:cNvSpPr txBox="1"/>
          <p:nvPr/>
        </p:nvSpPr>
        <p:spPr>
          <a:xfrm>
            <a:off x="1060581" y="1955055"/>
            <a:ext cx="6181530" cy="2246769"/>
          </a:xfrm>
          <a:prstGeom prst="rect">
            <a:avLst/>
          </a:prstGeom>
          <a:noFill/>
        </p:spPr>
        <p:txBody>
          <a:bodyPr wrap="square">
            <a:spAutoFit/>
          </a:bodyPr>
          <a:lstStyle/>
          <a:p>
            <a:r>
              <a:rPr lang="en-US" sz="2000" b="1"/>
              <a:t>ML/DL models for improving resolution of datasets-</a:t>
            </a:r>
          </a:p>
          <a:p>
            <a:pPr marL="971550" lvl="1" indent="-514350">
              <a:buFont typeface="+mj-lt"/>
              <a:buAutoNum type="romanLcPeriod"/>
            </a:pPr>
            <a:r>
              <a:rPr lang="en-US" sz="2000">
                <a:solidFill>
                  <a:srgbClr val="0070C0"/>
                </a:solidFill>
              </a:rPr>
              <a:t>Max Temperature</a:t>
            </a:r>
          </a:p>
          <a:p>
            <a:pPr marL="971550" lvl="1" indent="-514350">
              <a:buFont typeface="+mj-lt"/>
              <a:buAutoNum type="romanLcPeriod"/>
            </a:pPr>
            <a:r>
              <a:rPr lang="en-US" sz="2000">
                <a:solidFill>
                  <a:srgbClr val="0070C0"/>
                </a:solidFill>
              </a:rPr>
              <a:t>Min Temperature</a:t>
            </a:r>
          </a:p>
          <a:p>
            <a:pPr marL="971550" lvl="1" indent="-514350">
              <a:buFont typeface="+mj-lt"/>
              <a:buAutoNum type="romanLcPeriod"/>
            </a:pPr>
            <a:r>
              <a:rPr lang="en-US" sz="2000">
                <a:solidFill>
                  <a:srgbClr val="0070C0"/>
                </a:solidFill>
              </a:rPr>
              <a:t>Average Temperature</a:t>
            </a:r>
          </a:p>
          <a:p>
            <a:pPr marL="971550" lvl="1" indent="-514350">
              <a:buFont typeface="+mj-lt"/>
              <a:buAutoNum type="romanLcPeriod"/>
            </a:pPr>
            <a:r>
              <a:rPr lang="en-US" sz="2000">
                <a:solidFill>
                  <a:srgbClr val="0070C0"/>
                </a:solidFill>
              </a:rPr>
              <a:t>Average Relative Humidity</a:t>
            </a:r>
          </a:p>
          <a:p>
            <a:pPr marL="971550" lvl="1" indent="-514350">
              <a:buFont typeface="+mj-lt"/>
              <a:buAutoNum type="romanLcPeriod"/>
            </a:pPr>
            <a:r>
              <a:rPr lang="en-US" sz="2000">
                <a:solidFill>
                  <a:srgbClr val="0070C0"/>
                </a:solidFill>
              </a:rPr>
              <a:t>Average Wind Speed</a:t>
            </a:r>
          </a:p>
          <a:p>
            <a:pPr marL="971550" lvl="1" indent="-514350">
              <a:buFont typeface="+mj-lt"/>
              <a:buAutoNum type="romanLcPeriod"/>
            </a:pPr>
            <a:r>
              <a:rPr lang="en-US" sz="2000">
                <a:solidFill>
                  <a:srgbClr val="0070C0"/>
                </a:solidFill>
              </a:rPr>
              <a:t>Total Precipitation</a:t>
            </a:r>
          </a:p>
        </p:txBody>
      </p:sp>
      <p:sp>
        <p:nvSpPr>
          <p:cNvPr id="2" name="Slide Number Placeholder 1">
            <a:extLst>
              <a:ext uri="{FF2B5EF4-FFF2-40B4-BE49-F238E27FC236}">
                <a16:creationId xmlns:a16="http://schemas.microsoft.com/office/drawing/2014/main" id="{01022AA2-4ED6-33F1-DCC7-83E7BA387B4B}"/>
              </a:ext>
            </a:extLst>
          </p:cNvPr>
          <p:cNvSpPr>
            <a:spLocks noGrp="1"/>
          </p:cNvSpPr>
          <p:nvPr>
            <p:ph type="sldNum" sz="quarter" idx="12"/>
          </p:nvPr>
        </p:nvSpPr>
        <p:spPr/>
        <p:txBody>
          <a:bodyPr/>
          <a:lstStyle/>
          <a:p>
            <a:fld id="{EEAD9179-7A6B-4268-BEB2-F3B8EB06115B}" type="slidenum">
              <a:rPr lang="en-US" noProof="0" smtClean="0"/>
              <a:t>11</a:t>
            </a:fld>
            <a:endParaRPr lang="en-US" noProof="0"/>
          </a:p>
        </p:txBody>
      </p:sp>
      <p:sp>
        <p:nvSpPr>
          <p:cNvPr id="3" name="Right Brace 2">
            <a:extLst>
              <a:ext uri="{FF2B5EF4-FFF2-40B4-BE49-F238E27FC236}">
                <a16:creationId xmlns:a16="http://schemas.microsoft.com/office/drawing/2014/main" id="{82FC25AD-18AE-B2B3-F3B0-2C8C399F9ACC}"/>
              </a:ext>
            </a:extLst>
          </p:cNvPr>
          <p:cNvSpPr/>
          <p:nvPr/>
        </p:nvSpPr>
        <p:spPr>
          <a:xfrm>
            <a:off x="4776185" y="2432481"/>
            <a:ext cx="1677881" cy="1296139"/>
          </a:xfrm>
          <a:prstGeom prst="rightBrace">
            <a:avLst/>
          </a:prstGeom>
        </p:spPr>
        <p:style>
          <a:lnRef idx="2">
            <a:schemeClr val="accent2"/>
          </a:lnRef>
          <a:fillRef idx="0">
            <a:schemeClr val="accent2"/>
          </a:fillRef>
          <a:effectRef idx="1">
            <a:schemeClr val="accent2"/>
          </a:effectRef>
          <a:fontRef idx="minor">
            <a:schemeClr val="tx1"/>
          </a:fontRef>
        </p:style>
        <p:txBody>
          <a:bodyPr rtlCol="0" anchor="ctr"/>
          <a:lstStyle/>
          <a:p>
            <a:pPr algn="ctr"/>
            <a:endParaRPr lang="en-US"/>
          </a:p>
        </p:txBody>
      </p:sp>
      <p:sp>
        <p:nvSpPr>
          <p:cNvPr id="5" name="TextBox 4">
            <a:extLst>
              <a:ext uri="{FF2B5EF4-FFF2-40B4-BE49-F238E27FC236}">
                <a16:creationId xmlns:a16="http://schemas.microsoft.com/office/drawing/2014/main" id="{BB2E9326-B87B-561A-0C43-2FA1589C1E1C}"/>
              </a:ext>
            </a:extLst>
          </p:cNvPr>
          <p:cNvSpPr txBox="1"/>
          <p:nvPr/>
        </p:nvSpPr>
        <p:spPr>
          <a:xfrm>
            <a:off x="6525087" y="2885243"/>
            <a:ext cx="2024109" cy="369332"/>
          </a:xfrm>
          <a:prstGeom prst="rect">
            <a:avLst/>
          </a:prstGeom>
          <a:noFill/>
        </p:spPr>
        <p:txBody>
          <a:bodyPr wrap="square" rtlCol="0">
            <a:spAutoFit/>
          </a:bodyPr>
          <a:lstStyle/>
          <a:p>
            <a:r>
              <a:rPr lang="en-US"/>
              <a:t>Machine Learning</a:t>
            </a:r>
          </a:p>
        </p:txBody>
      </p:sp>
      <p:cxnSp>
        <p:nvCxnSpPr>
          <p:cNvPr id="7" name="Straight Arrow Connector 6">
            <a:extLst>
              <a:ext uri="{FF2B5EF4-FFF2-40B4-BE49-F238E27FC236}">
                <a16:creationId xmlns:a16="http://schemas.microsoft.com/office/drawing/2014/main" id="{CABDFA14-5BEF-5327-5B2E-74E7D0B33773}"/>
              </a:ext>
            </a:extLst>
          </p:cNvPr>
          <p:cNvCxnSpPr>
            <a:cxnSpLocks/>
          </p:cNvCxnSpPr>
          <p:nvPr/>
        </p:nvCxnSpPr>
        <p:spPr>
          <a:xfrm>
            <a:off x="4776185" y="4012707"/>
            <a:ext cx="1677881" cy="0"/>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sp>
        <p:nvSpPr>
          <p:cNvPr id="10" name="TextBox 9">
            <a:extLst>
              <a:ext uri="{FF2B5EF4-FFF2-40B4-BE49-F238E27FC236}">
                <a16:creationId xmlns:a16="http://schemas.microsoft.com/office/drawing/2014/main" id="{454EFFA5-D86E-C126-6656-4E36F38880CE}"/>
              </a:ext>
            </a:extLst>
          </p:cNvPr>
          <p:cNvSpPr txBox="1"/>
          <p:nvPr/>
        </p:nvSpPr>
        <p:spPr>
          <a:xfrm>
            <a:off x="6525087" y="3806478"/>
            <a:ext cx="3950563" cy="369332"/>
          </a:xfrm>
          <a:prstGeom prst="rect">
            <a:avLst/>
          </a:prstGeom>
          <a:noFill/>
        </p:spPr>
        <p:txBody>
          <a:bodyPr wrap="square" rtlCol="0">
            <a:spAutoFit/>
          </a:bodyPr>
          <a:lstStyle/>
          <a:p>
            <a:r>
              <a:rPr lang="en-US"/>
              <a:t>Deep Learning</a:t>
            </a:r>
          </a:p>
        </p:txBody>
      </p:sp>
    </p:spTree>
    <p:extLst>
      <p:ext uri="{BB962C8B-B14F-4D97-AF65-F5344CB8AC3E}">
        <p14:creationId xmlns:p14="http://schemas.microsoft.com/office/powerpoint/2010/main" val="24775691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53" presetClass="entr" presetSubtype="16"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p:cTn id="11" dur="500" fill="hold"/>
                                        <p:tgtEl>
                                          <p:spTgt spid="3"/>
                                        </p:tgtEl>
                                        <p:attrNameLst>
                                          <p:attrName>ppt_w</p:attrName>
                                        </p:attrNameLst>
                                      </p:cBhvr>
                                      <p:tavLst>
                                        <p:tav tm="0">
                                          <p:val>
                                            <p:fltVal val="0"/>
                                          </p:val>
                                        </p:tav>
                                        <p:tav tm="100000">
                                          <p:val>
                                            <p:strVal val="#ppt_w"/>
                                          </p:val>
                                        </p:tav>
                                      </p:tavLst>
                                    </p:anim>
                                    <p:anim calcmode="lin" valueType="num">
                                      <p:cBhvr>
                                        <p:cTn id="12" dur="500" fill="hold"/>
                                        <p:tgtEl>
                                          <p:spTgt spid="3"/>
                                        </p:tgtEl>
                                        <p:attrNameLst>
                                          <p:attrName>ppt_h</p:attrName>
                                        </p:attrNameLst>
                                      </p:cBhvr>
                                      <p:tavLst>
                                        <p:tav tm="0">
                                          <p:val>
                                            <p:fltVal val="0"/>
                                          </p:val>
                                        </p:tav>
                                        <p:tav tm="100000">
                                          <p:val>
                                            <p:strVal val="#ppt_h"/>
                                          </p:val>
                                        </p:tav>
                                      </p:tavLst>
                                    </p:anim>
                                    <p:animEffect transition="in" filter="fade">
                                      <p:cBhvr>
                                        <p:cTn id="13" dur="500"/>
                                        <p:tgtEl>
                                          <p:spTgt spid="3"/>
                                        </p:tgtEl>
                                      </p:cBhvr>
                                    </p:animEffect>
                                  </p:childTnLst>
                                </p:cTn>
                              </p:par>
                              <p:par>
                                <p:cTn id="14" presetID="53" presetClass="entr" presetSubtype="16" fill="hold" grpId="0" nodeType="withEffect">
                                  <p:stCondLst>
                                    <p:cond delay="0"/>
                                  </p:stCondLst>
                                  <p:childTnLst>
                                    <p:set>
                                      <p:cBhvr>
                                        <p:cTn id="15" dur="1" fill="hold">
                                          <p:stCondLst>
                                            <p:cond delay="0"/>
                                          </p:stCondLst>
                                        </p:cTn>
                                        <p:tgtEl>
                                          <p:spTgt spid="5"/>
                                        </p:tgtEl>
                                        <p:attrNameLst>
                                          <p:attrName>style.visibility</p:attrName>
                                        </p:attrNameLst>
                                      </p:cBhvr>
                                      <p:to>
                                        <p:strVal val="visible"/>
                                      </p:to>
                                    </p:set>
                                    <p:anim calcmode="lin" valueType="num">
                                      <p:cBhvr>
                                        <p:cTn id="16" dur="500" fill="hold"/>
                                        <p:tgtEl>
                                          <p:spTgt spid="5"/>
                                        </p:tgtEl>
                                        <p:attrNameLst>
                                          <p:attrName>ppt_w</p:attrName>
                                        </p:attrNameLst>
                                      </p:cBhvr>
                                      <p:tavLst>
                                        <p:tav tm="0">
                                          <p:val>
                                            <p:fltVal val="0"/>
                                          </p:val>
                                        </p:tav>
                                        <p:tav tm="100000">
                                          <p:val>
                                            <p:strVal val="#ppt_w"/>
                                          </p:val>
                                        </p:tav>
                                      </p:tavLst>
                                    </p:anim>
                                    <p:anim calcmode="lin" valueType="num">
                                      <p:cBhvr>
                                        <p:cTn id="17" dur="500" fill="hold"/>
                                        <p:tgtEl>
                                          <p:spTgt spid="5"/>
                                        </p:tgtEl>
                                        <p:attrNameLst>
                                          <p:attrName>ppt_h</p:attrName>
                                        </p:attrNameLst>
                                      </p:cBhvr>
                                      <p:tavLst>
                                        <p:tav tm="0">
                                          <p:val>
                                            <p:fltVal val="0"/>
                                          </p:val>
                                        </p:tav>
                                        <p:tav tm="100000">
                                          <p:val>
                                            <p:strVal val="#ppt_h"/>
                                          </p:val>
                                        </p:tav>
                                      </p:tavLst>
                                    </p:anim>
                                    <p:animEffect transition="in" filter="fade">
                                      <p:cBhvr>
                                        <p:cTn id="18" dur="500"/>
                                        <p:tgtEl>
                                          <p:spTgt spid="5"/>
                                        </p:tgtEl>
                                      </p:cBhvr>
                                    </p:animEffect>
                                  </p:childTnLst>
                                </p:cTn>
                              </p:par>
                              <p:par>
                                <p:cTn id="19" presetID="53" presetClass="entr" presetSubtype="16" fill="hold" nodeType="withEffect">
                                  <p:stCondLst>
                                    <p:cond delay="0"/>
                                  </p:stCondLst>
                                  <p:childTnLst>
                                    <p:set>
                                      <p:cBhvr>
                                        <p:cTn id="20" dur="1" fill="hold">
                                          <p:stCondLst>
                                            <p:cond delay="0"/>
                                          </p:stCondLst>
                                        </p:cTn>
                                        <p:tgtEl>
                                          <p:spTgt spid="7"/>
                                        </p:tgtEl>
                                        <p:attrNameLst>
                                          <p:attrName>style.visibility</p:attrName>
                                        </p:attrNameLst>
                                      </p:cBhvr>
                                      <p:to>
                                        <p:strVal val="visible"/>
                                      </p:to>
                                    </p:set>
                                    <p:anim calcmode="lin" valueType="num">
                                      <p:cBhvr>
                                        <p:cTn id="21" dur="500" fill="hold"/>
                                        <p:tgtEl>
                                          <p:spTgt spid="7"/>
                                        </p:tgtEl>
                                        <p:attrNameLst>
                                          <p:attrName>ppt_w</p:attrName>
                                        </p:attrNameLst>
                                      </p:cBhvr>
                                      <p:tavLst>
                                        <p:tav tm="0">
                                          <p:val>
                                            <p:fltVal val="0"/>
                                          </p:val>
                                        </p:tav>
                                        <p:tav tm="100000">
                                          <p:val>
                                            <p:strVal val="#ppt_w"/>
                                          </p:val>
                                        </p:tav>
                                      </p:tavLst>
                                    </p:anim>
                                    <p:anim calcmode="lin" valueType="num">
                                      <p:cBhvr>
                                        <p:cTn id="22" dur="500" fill="hold"/>
                                        <p:tgtEl>
                                          <p:spTgt spid="7"/>
                                        </p:tgtEl>
                                        <p:attrNameLst>
                                          <p:attrName>ppt_h</p:attrName>
                                        </p:attrNameLst>
                                      </p:cBhvr>
                                      <p:tavLst>
                                        <p:tav tm="0">
                                          <p:val>
                                            <p:fltVal val="0"/>
                                          </p:val>
                                        </p:tav>
                                        <p:tav tm="100000">
                                          <p:val>
                                            <p:strVal val="#ppt_h"/>
                                          </p:val>
                                        </p:tav>
                                      </p:tavLst>
                                    </p:anim>
                                    <p:animEffect transition="in" filter="fade">
                                      <p:cBhvr>
                                        <p:cTn id="23" dur="500"/>
                                        <p:tgtEl>
                                          <p:spTgt spid="7"/>
                                        </p:tgtEl>
                                      </p:cBhvr>
                                    </p:animEffect>
                                  </p:childTnLst>
                                </p:cTn>
                              </p:par>
                              <p:par>
                                <p:cTn id="24" presetID="53" presetClass="entr" presetSubtype="16" fill="hold" grpId="0" nodeType="withEffect">
                                  <p:stCondLst>
                                    <p:cond delay="0"/>
                                  </p:stCondLst>
                                  <p:childTnLst>
                                    <p:set>
                                      <p:cBhvr>
                                        <p:cTn id="25" dur="1" fill="hold">
                                          <p:stCondLst>
                                            <p:cond delay="0"/>
                                          </p:stCondLst>
                                        </p:cTn>
                                        <p:tgtEl>
                                          <p:spTgt spid="10"/>
                                        </p:tgtEl>
                                        <p:attrNameLst>
                                          <p:attrName>style.visibility</p:attrName>
                                        </p:attrNameLst>
                                      </p:cBhvr>
                                      <p:to>
                                        <p:strVal val="visible"/>
                                      </p:to>
                                    </p:set>
                                    <p:anim calcmode="lin" valueType="num">
                                      <p:cBhvr>
                                        <p:cTn id="26" dur="500" fill="hold"/>
                                        <p:tgtEl>
                                          <p:spTgt spid="10"/>
                                        </p:tgtEl>
                                        <p:attrNameLst>
                                          <p:attrName>ppt_w</p:attrName>
                                        </p:attrNameLst>
                                      </p:cBhvr>
                                      <p:tavLst>
                                        <p:tav tm="0">
                                          <p:val>
                                            <p:fltVal val="0"/>
                                          </p:val>
                                        </p:tav>
                                        <p:tav tm="100000">
                                          <p:val>
                                            <p:strVal val="#ppt_w"/>
                                          </p:val>
                                        </p:tav>
                                      </p:tavLst>
                                    </p:anim>
                                    <p:anim calcmode="lin" valueType="num">
                                      <p:cBhvr>
                                        <p:cTn id="27" dur="500" fill="hold"/>
                                        <p:tgtEl>
                                          <p:spTgt spid="10"/>
                                        </p:tgtEl>
                                        <p:attrNameLst>
                                          <p:attrName>ppt_h</p:attrName>
                                        </p:attrNameLst>
                                      </p:cBhvr>
                                      <p:tavLst>
                                        <p:tav tm="0">
                                          <p:val>
                                            <p:fltVal val="0"/>
                                          </p:val>
                                        </p:tav>
                                        <p:tav tm="100000">
                                          <p:val>
                                            <p:strVal val="#ppt_h"/>
                                          </p:val>
                                        </p:tav>
                                      </p:tavLst>
                                    </p:anim>
                                    <p:animEffect transition="in" filter="fade">
                                      <p:cBhvr>
                                        <p:cTn id="28" dur="500"/>
                                        <p:tgtEl>
                                          <p:spTgt spid="10"/>
                                        </p:tgtEl>
                                      </p:cBhvr>
                                    </p:animEffec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8" grpId="0"/>
      <p:bldP spid="3" grpId="0" animBg="1"/>
      <p:bldP spid="5" grpId="0"/>
      <p:bldP spid="10"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1060582" y="443283"/>
            <a:ext cx="9144000" cy="7316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i="1" u="sng" dirty="0">
                <a:solidFill>
                  <a:schemeClr val="accent1">
                    <a:lumMod val="50000"/>
                  </a:schemeClr>
                </a:solidFill>
                <a:latin typeface="Calibri Light" panose="020F0302020204030204" pitchFamily="34" charset="0"/>
              </a:rPr>
              <a:t>ML/DL Model Frameworks</a:t>
            </a:r>
            <a:endParaRPr lang="en-US" sz="4000" i="1" u="sng" dirty="0">
              <a:solidFill>
                <a:schemeClr val="accent1">
                  <a:lumMod val="50000"/>
                </a:schemeClr>
              </a:solidFill>
            </a:endParaRPr>
          </a:p>
        </p:txBody>
      </p:sp>
      <p:sp>
        <p:nvSpPr>
          <p:cNvPr id="2" name="Slide Number Placeholder 1">
            <a:extLst>
              <a:ext uri="{FF2B5EF4-FFF2-40B4-BE49-F238E27FC236}">
                <a16:creationId xmlns:a16="http://schemas.microsoft.com/office/drawing/2014/main" id="{01022AA2-4ED6-33F1-DCC7-83E7BA387B4B}"/>
              </a:ext>
            </a:extLst>
          </p:cNvPr>
          <p:cNvSpPr>
            <a:spLocks noGrp="1"/>
          </p:cNvSpPr>
          <p:nvPr>
            <p:ph type="sldNum" sz="quarter" idx="12"/>
          </p:nvPr>
        </p:nvSpPr>
        <p:spPr/>
        <p:txBody>
          <a:bodyPr/>
          <a:lstStyle/>
          <a:p>
            <a:fld id="{EEAD9179-7A6B-4268-BEB2-F3B8EB06115B}" type="slidenum">
              <a:rPr lang="en-US" noProof="0" smtClean="0"/>
              <a:t>12</a:t>
            </a:fld>
            <a:endParaRPr lang="en-US" noProof="0"/>
          </a:p>
        </p:txBody>
      </p:sp>
      <p:sp>
        <p:nvSpPr>
          <p:cNvPr id="3" name="TextBox 2">
            <a:extLst>
              <a:ext uri="{FF2B5EF4-FFF2-40B4-BE49-F238E27FC236}">
                <a16:creationId xmlns:a16="http://schemas.microsoft.com/office/drawing/2014/main" id="{76C83492-675C-BDF8-08D6-D05F59107492}"/>
              </a:ext>
            </a:extLst>
          </p:cNvPr>
          <p:cNvSpPr txBox="1"/>
          <p:nvPr/>
        </p:nvSpPr>
        <p:spPr>
          <a:xfrm>
            <a:off x="1060582" y="1174887"/>
            <a:ext cx="5766346" cy="2957861"/>
          </a:xfrm>
          <a:prstGeom prst="rect">
            <a:avLst/>
          </a:prstGeom>
          <a:noFill/>
        </p:spPr>
        <p:txBody>
          <a:bodyPr wrap="square" lIns="91440" tIns="45720" rIns="91440" bIns="45720" rtlCol="0" anchor="t">
            <a:spAutoFit/>
          </a:bodyPr>
          <a:lstStyle/>
          <a:p>
            <a:pPr>
              <a:lnSpc>
                <a:spcPct val="150000"/>
              </a:lnSpc>
            </a:pPr>
            <a:r>
              <a:rPr lang="en-US" b="1" u="sng" dirty="0"/>
              <a:t>Machine Learning</a:t>
            </a:r>
          </a:p>
          <a:p>
            <a:pPr marL="285750" indent="-285750">
              <a:lnSpc>
                <a:spcPct val="150000"/>
              </a:lnSpc>
              <a:buFont typeface="Wingdings" panose="05000000000000000000" pitchFamily="2" charset="2"/>
              <a:buChar char="ü"/>
            </a:pPr>
            <a:r>
              <a:rPr lang="en-US" b="1" dirty="0"/>
              <a:t>Gradient-based One-Side Sampling (GOSS)</a:t>
            </a:r>
            <a:r>
              <a:rPr lang="en-US" dirty="0"/>
              <a:t> from </a:t>
            </a:r>
            <a:r>
              <a:rPr lang="en-US" b="1" dirty="0" err="1"/>
              <a:t>LightGBM</a:t>
            </a:r>
            <a:r>
              <a:rPr lang="en-US" dirty="0"/>
              <a:t>: </a:t>
            </a:r>
            <a:r>
              <a:rPr lang="en-US" i="1" dirty="0"/>
              <a:t>an advanced form of Gradient Boosting Decision Tree</a:t>
            </a:r>
          </a:p>
          <a:p>
            <a:pPr marL="285750" indent="-285750">
              <a:lnSpc>
                <a:spcPct val="150000"/>
              </a:lnSpc>
              <a:buFont typeface="Wingdings" panose="05000000000000000000" pitchFamily="2" charset="2"/>
              <a:buChar char="ü"/>
            </a:pPr>
            <a:r>
              <a:rPr lang="en-US" i="1" dirty="0"/>
              <a:t>input variables:</a:t>
            </a:r>
            <a:r>
              <a:rPr lang="en-US" dirty="0"/>
              <a:t> ERA5 datasets, Topography, </a:t>
            </a:r>
            <a:r>
              <a:rPr lang="en-US" dirty="0" err="1"/>
              <a:t>lat</a:t>
            </a:r>
            <a:r>
              <a:rPr lang="en-US" dirty="0"/>
              <a:t>/</a:t>
            </a:r>
            <a:r>
              <a:rPr lang="en-US" dirty="0" err="1"/>
              <a:t>lon</a:t>
            </a:r>
            <a:r>
              <a:rPr lang="en-US" dirty="0"/>
              <a:t>, month</a:t>
            </a:r>
          </a:p>
          <a:p>
            <a:pPr marL="285750" indent="-285750">
              <a:lnSpc>
                <a:spcPct val="150000"/>
              </a:lnSpc>
              <a:buFont typeface="Wingdings" panose="05000000000000000000" pitchFamily="2" charset="2"/>
              <a:buChar char="ü"/>
            </a:pPr>
            <a:r>
              <a:rPr lang="en-US" dirty="0"/>
              <a:t>80-20 </a:t>
            </a:r>
            <a:r>
              <a:rPr lang="en-US" dirty="0">
                <a:solidFill>
                  <a:srgbClr val="7030A0"/>
                </a:solidFill>
              </a:rPr>
              <a:t>train</a:t>
            </a:r>
            <a:r>
              <a:rPr lang="en-US" dirty="0"/>
              <a:t>-</a:t>
            </a:r>
            <a:r>
              <a:rPr lang="en-US" dirty="0">
                <a:solidFill>
                  <a:schemeClr val="accent2">
                    <a:lumMod val="75000"/>
                  </a:schemeClr>
                </a:solidFill>
              </a:rPr>
              <a:t>test</a:t>
            </a:r>
            <a:r>
              <a:rPr lang="en-US" dirty="0"/>
              <a:t> split by </a:t>
            </a:r>
            <a:r>
              <a:rPr lang="en-US" u="sng" dirty="0"/>
              <a:t>date</a:t>
            </a:r>
            <a:r>
              <a:rPr lang="en-US" dirty="0"/>
              <a:t> </a:t>
            </a:r>
          </a:p>
        </p:txBody>
      </p:sp>
      <p:sp>
        <p:nvSpPr>
          <p:cNvPr id="10" name="TextBox 9">
            <a:extLst>
              <a:ext uri="{FF2B5EF4-FFF2-40B4-BE49-F238E27FC236}">
                <a16:creationId xmlns:a16="http://schemas.microsoft.com/office/drawing/2014/main" id="{0493CA3C-A4A5-7D4C-211C-75EC0115E151}"/>
              </a:ext>
            </a:extLst>
          </p:cNvPr>
          <p:cNvSpPr txBox="1"/>
          <p:nvPr/>
        </p:nvSpPr>
        <p:spPr>
          <a:xfrm>
            <a:off x="1060582" y="4079397"/>
            <a:ext cx="5908389" cy="1711366"/>
          </a:xfrm>
          <a:prstGeom prst="rect">
            <a:avLst/>
          </a:prstGeom>
          <a:noFill/>
        </p:spPr>
        <p:txBody>
          <a:bodyPr wrap="square" lIns="91440" tIns="45720" rIns="91440" bIns="45720" rtlCol="0" anchor="t">
            <a:spAutoFit/>
          </a:bodyPr>
          <a:lstStyle/>
          <a:p>
            <a:pPr>
              <a:lnSpc>
                <a:spcPct val="150000"/>
              </a:lnSpc>
            </a:pPr>
            <a:r>
              <a:rPr lang="en-US" b="1" u="sng" dirty="0"/>
              <a:t>Deep Learning</a:t>
            </a:r>
          </a:p>
          <a:p>
            <a:pPr marL="342900" indent="-342900">
              <a:lnSpc>
                <a:spcPct val="150000"/>
              </a:lnSpc>
              <a:buFont typeface="Wingdings" panose="05000000000000000000" pitchFamily="2" charset="2"/>
              <a:buChar char="ü"/>
            </a:pPr>
            <a:r>
              <a:rPr lang="en-US" dirty="0"/>
              <a:t>Multi-Layered Perceptron (MLP)</a:t>
            </a:r>
            <a:endParaRPr lang="en-US" b="1" u="sng" dirty="0"/>
          </a:p>
          <a:p>
            <a:pPr marL="285750" indent="-285750">
              <a:lnSpc>
                <a:spcPct val="150000"/>
              </a:lnSpc>
              <a:buFont typeface="Wingdings" panose="05000000000000000000" pitchFamily="2" charset="2"/>
              <a:buChar char="ü"/>
            </a:pPr>
            <a:r>
              <a:rPr lang="en-US" dirty="0"/>
              <a:t>Getting a lot of focus recently </a:t>
            </a:r>
            <a:r>
              <a:rPr lang="en-US" dirty="0">
                <a:solidFill>
                  <a:schemeClr val="accent5">
                    <a:lumMod val="75000"/>
                  </a:schemeClr>
                </a:solidFill>
              </a:rPr>
              <a:t>(</a:t>
            </a:r>
            <a:r>
              <a:rPr lang="en-US" dirty="0">
                <a:solidFill>
                  <a:srgbClr val="0070C0"/>
                </a:solidFill>
              </a:rPr>
              <a:t>Gonzalez 2023, Wang et al. 2022, Sha et al. 2020, Anh et al. 2019)</a:t>
            </a:r>
            <a:r>
              <a:rPr lang="en-US" dirty="0"/>
              <a:t> </a:t>
            </a:r>
            <a:endParaRPr lang="en-US" dirty="0">
              <a:cs typeface="Calibri"/>
            </a:endParaRPr>
          </a:p>
        </p:txBody>
      </p:sp>
      <p:pic>
        <p:nvPicPr>
          <p:cNvPr id="12" name="Picture 11" descr="A diagram of a network&#10;&#10;Description automatically generated">
            <a:extLst>
              <a:ext uri="{FF2B5EF4-FFF2-40B4-BE49-F238E27FC236}">
                <a16:creationId xmlns:a16="http://schemas.microsoft.com/office/drawing/2014/main" id="{90ABC447-2E42-0759-A4D9-C6C53471FAB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11246" y="4079397"/>
            <a:ext cx="3820172" cy="2292103"/>
          </a:xfrm>
          <a:prstGeom prst="rect">
            <a:avLst/>
          </a:prstGeom>
        </p:spPr>
      </p:pic>
      <p:grpSp>
        <p:nvGrpSpPr>
          <p:cNvPr id="17" name="Group 16">
            <a:extLst>
              <a:ext uri="{FF2B5EF4-FFF2-40B4-BE49-F238E27FC236}">
                <a16:creationId xmlns:a16="http://schemas.microsoft.com/office/drawing/2014/main" id="{64FBD80A-68D5-FAA2-CDB2-774F6A09765B}"/>
              </a:ext>
            </a:extLst>
          </p:cNvPr>
          <p:cNvGrpSpPr/>
          <p:nvPr/>
        </p:nvGrpSpPr>
        <p:grpSpPr>
          <a:xfrm>
            <a:off x="7071549" y="1174887"/>
            <a:ext cx="4296496" cy="2613281"/>
            <a:chOff x="6968971" y="1106463"/>
            <a:chExt cx="4638771" cy="2972934"/>
          </a:xfrm>
        </p:grpSpPr>
        <p:pic>
          <p:nvPicPr>
            <p:cNvPr id="8" name="Picture 7">
              <a:extLst>
                <a:ext uri="{FF2B5EF4-FFF2-40B4-BE49-F238E27FC236}">
                  <a16:creationId xmlns:a16="http://schemas.microsoft.com/office/drawing/2014/main" id="{C67A9180-74C5-2B09-DEAF-F24C087AFB7A}"/>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968971" y="1106463"/>
              <a:ext cx="4638771" cy="2941527"/>
            </a:xfrm>
            <a:prstGeom prst="rect">
              <a:avLst/>
            </a:prstGeom>
          </p:spPr>
        </p:pic>
        <p:sp>
          <p:nvSpPr>
            <p:cNvPr id="16" name="TextBox 15">
              <a:extLst>
                <a:ext uri="{FF2B5EF4-FFF2-40B4-BE49-F238E27FC236}">
                  <a16:creationId xmlns:a16="http://schemas.microsoft.com/office/drawing/2014/main" id="{E1D5A8CA-E18A-9013-002D-ECA1C349ACB2}"/>
                </a:ext>
              </a:extLst>
            </p:cNvPr>
            <p:cNvSpPr txBox="1"/>
            <p:nvPr/>
          </p:nvSpPr>
          <p:spPr>
            <a:xfrm>
              <a:off x="8753383" y="3710065"/>
              <a:ext cx="1065320" cy="369332"/>
            </a:xfrm>
            <a:prstGeom prst="rect">
              <a:avLst/>
            </a:prstGeom>
            <a:solidFill>
              <a:schemeClr val="accent1">
                <a:lumMod val="60000"/>
                <a:lumOff val="40000"/>
              </a:schemeClr>
            </a:solidFill>
          </p:spPr>
          <p:txBody>
            <a:bodyPr wrap="square" rtlCol="0">
              <a:spAutoFit/>
            </a:bodyPr>
            <a:lstStyle/>
            <a:p>
              <a:pPr algn="ctr"/>
              <a:r>
                <a:rPr lang="en-US"/>
                <a:t>Output</a:t>
              </a:r>
            </a:p>
          </p:txBody>
        </p:sp>
      </p:grpSp>
      <p:sp>
        <p:nvSpPr>
          <p:cNvPr id="21" name="TextBox 20">
            <a:extLst>
              <a:ext uri="{FF2B5EF4-FFF2-40B4-BE49-F238E27FC236}">
                <a16:creationId xmlns:a16="http://schemas.microsoft.com/office/drawing/2014/main" id="{8BBD99BD-72B6-B1F3-A76A-4FE9DD5EA5DC}"/>
              </a:ext>
            </a:extLst>
          </p:cNvPr>
          <p:cNvSpPr txBox="1"/>
          <p:nvPr/>
        </p:nvSpPr>
        <p:spPr>
          <a:xfrm>
            <a:off x="1060582" y="6497028"/>
            <a:ext cx="5360044" cy="276999"/>
          </a:xfrm>
          <a:prstGeom prst="rect">
            <a:avLst/>
          </a:prstGeom>
          <a:noFill/>
        </p:spPr>
        <p:txBody>
          <a:bodyPr wrap="square" rtlCol="0">
            <a:spAutoFit/>
          </a:bodyPr>
          <a:lstStyle/>
          <a:p>
            <a:r>
              <a:rPr lang="en-US" sz="1200"/>
              <a:t>Figure Source: </a:t>
            </a:r>
            <a:r>
              <a:rPr lang="en-US" sz="1200">
                <a:hlinkClick r:id="rId5"/>
              </a:rPr>
              <a:t>LGBM Decision Tree</a:t>
            </a:r>
            <a:r>
              <a:rPr lang="en-US" sz="1200"/>
              <a:t>, </a:t>
            </a:r>
            <a:r>
              <a:rPr lang="en-US" sz="1200">
                <a:hlinkClick r:id="rId6"/>
              </a:rPr>
              <a:t>Multi Layer perceptron in </a:t>
            </a:r>
            <a:r>
              <a:rPr lang="en-US" sz="1200" err="1">
                <a:hlinkClick r:id="rId6"/>
              </a:rPr>
              <a:t>Tensorflow</a:t>
            </a:r>
            <a:endParaRPr lang="en-US" sz="1200"/>
          </a:p>
        </p:txBody>
      </p:sp>
    </p:spTree>
    <p:extLst>
      <p:ext uri="{BB962C8B-B14F-4D97-AF65-F5344CB8AC3E}">
        <p14:creationId xmlns:p14="http://schemas.microsoft.com/office/powerpoint/2010/main" val="30910988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anim calcmode="lin" valueType="num">
                                      <p:cBhvr>
                                        <p:cTn id="8" dur="1000" fill="hold"/>
                                        <p:tgtEl>
                                          <p:spTgt spid="12"/>
                                        </p:tgtEl>
                                        <p:attrNameLst>
                                          <p:attrName>ppt_x</p:attrName>
                                        </p:attrNameLst>
                                      </p:cBhvr>
                                      <p:tavLst>
                                        <p:tav tm="0">
                                          <p:val>
                                            <p:strVal val="#ppt_x"/>
                                          </p:val>
                                        </p:tav>
                                        <p:tav tm="100000">
                                          <p:val>
                                            <p:strVal val="#ppt_x"/>
                                          </p:val>
                                        </p:tav>
                                      </p:tavLst>
                                    </p:anim>
                                    <p:anim calcmode="lin" valueType="num">
                                      <p:cBhvr>
                                        <p:cTn id="9" dur="1000" fill="hold"/>
                                        <p:tgtEl>
                                          <p:spTgt spid="1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1000"/>
                                        <p:tgtEl>
                                          <p:spTgt spid="10"/>
                                        </p:tgtEl>
                                      </p:cBhvr>
                                    </p:animEffect>
                                    <p:anim calcmode="lin" valueType="num">
                                      <p:cBhvr>
                                        <p:cTn id="13" dur="1000" fill="hold"/>
                                        <p:tgtEl>
                                          <p:spTgt spid="10"/>
                                        </p:tgtEl>
                                        <p:attrNameLst>
                                          <p:attrName>ppt_x</p:attrName>
                                        </p:attrNameLst>
                                      </p:cBhvr>
                                      <p:tavLst>
                                        <p:tav tm="0">
                                          <p:val>
                                            <p:strVal val="#ppt_x"/>
                                          </p:val>
                                        </p:tav>
                                        <p:tav tm="100000">
                                          <p:val>
                                            <p:strVal val="#ppt_x"/>
                                          </p:val>
                                        </p:tav>
                                      </p:tavLst>
                                    </p:anim>
                                    <p:anim calcmode="lin" valueType="num">
                                      <p:cBhvr>
                                        <p:cTn id="14"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1060582" y="443283"/>
            <a:ext cx="9144000" cy="7316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i="1" u="sng">
                <a:solidFill>
                  <a:schemeClr val="accent1">
                    <a:lumMod val="50000"/>
                  </a:schemeClr>
                </a:solidFill>
                <a:latin typeface="Calibri Light" panose="020F0302020204030204" pitchFamily="34" charset="0"/>
              </a:rPr>
              <a:t>Pre-processing Datasets for ML/DL</a:t>
            </a:r>
            <a:endParaRPr lang="en-US" sz="4000" i="1" u="sng">
              <a:solidFill>
                <a:schemeClr val="accent1">
                  <a:lumMod val="50000"/>
                </a:schemeClr>
              </a:solidFill>
            </a:endParaRPr>
          </a:p>
        </p:txBody>
      </p:sp>
      <p:sp>
        <p:nvSpPr>
          <p:cNvPr id="20" name="TextBox 19">
            <a:extLst>
              <a:ext uri="{FF2B5EF4-FFF2-40B4-BE49-F238E27FC236}">
                <a16:creationId xmlns:a16="http://schemas.microsoft.com/office/drawing/2014/main" id="{D8E263AE-6047-CA16-0E7E-853CAB8E6BF3}"/>
              </a:ext>
            </a:extLst>
          </p:cNvPr>
          <p:cNvSpPr txBox="1"/>
          <p:nvPr/>
        </p:nvSpPr>
        <p:spPr>
          <a:xfrm>
            <a:off x="1060582" y="1338658"/>
            <a:ext cx="9574867" cy="3083921"/>
          </a:xfrm>
          <a:prstGeom prst="rect">
            <a:avLst/>
          </a:prstGeom>
          <a:noFill/>
        </p:spPr>
        <p:txBody>
          <a:bodyPr wrap="square" lIns="91440" tIns="45720" rIns="91440" bIns="45720" anchor="t">
            <a:spAutoFit/>
          </a:bodyPr>
          <a:lstStyle/>
          <a:p>
            <a:pPr marL="285750" indent="-285750">
              <a:lnSpc>
                <a:spcPct val="200000"/>
              </a:lnSpc>
              <a:buFont typeface="Wingdings" panose="05000000000000000000" pitchFamily="2" charset="2"/>
              <a:buChar char="§"/>
            </a:pPr>
            <a:r>
              <a:rPr lang="en-US" sz="2000" dirty="0"/>
              <a:t>Used </a:t>
            </a:r>
            <a:r>
              <a:rPr lang="en-US" sz="2000" b="1" dirty="0">
                <a:solidFill>
                  <a:schemeClr val="accent2">
                    <a:lumMod val="75000"/>
                  </a:schemeClr>
                </a:solidFill>
              </a:rPr>
              <a:t>Bilinear</a:t>
            </a:r>
            <a:r>
              <a:rPr lang="en-US" sz="2000" dirty="0"/>
              <a:t> resampling (ERA5 weather datasets 28km &gt; 4km). </a:t>
            </a:r>
          </a:p>
          <a:p>
            <a:pPr marL="285750" indent="-285750">
              <a:lnSpc>
                <a:spcPct val="200000"/>
              </a:lnSpc>
              <a:buFont typeface="Wingdings" panose="05000000000000000000" pitchFamily="2" charset="2"/>
              <a:buChar char="§"/>
            </a:pPr>
            <a:r>
              <a:rPr lang="en-US" sz="2000" dirty="0"/>
              <a:t>Studies have found minimal/no difference between Bilinear and </a:t>
            </a:r>
            <a:r>
              <a:rPr lang="en-US" sz="2000" dirty="0" err="1"/>
              <a:t>Krigging</a:t>
            </a:r>
            <a:r>
              <a:rPr lang="en-US" sz="2000" dirty="0"/>
              <a:t> interpolation.</a:t>
            </a:r>
          </a:p>
          <a:p>
            <a:pPr marL="285750" indent="-285750">
              <a:lnSpc>
                <a:spcPct val="200000"/>
              </a:lnSpc>
              <a:buFont typeface="Wingdings" panose="05000000000000000000" pitchFamily="2" charset="2"/>
              <a:buChar char="§"/>
            </a:pPr>
            <a:r>
              <a:rPr lang="en-US" sz="2000" dirty="0"/>
              <a:t>Bilinear is a much faster algorithm for large datasets.</a:t>
            </a:r>
          </a:p>
          <a:p>
            <a:pPr marL="285750" indent="-285750">
              <a:lnSpc>
                <a:spcPct val="200000"/>
              </a:lnSpc>
              <a:buFont typeface="Wingdings" panose="05000000000000000000" pitchFamily="2" charset="2"/>
              <a:buChar char="§"/>
            </a:pPr>
            <a:endParaRPr lang="en-US" sz="2000" dirty="0"/>
          </a:p>
          <a:p>
            <a:pPr>
              <a:lnSpc>
                <a:spcPct val="200000"/>
              </a:lnSpc>
            </a:pPr>
            <a:r>
              <a:rPr lang="en-US" sz="2000" dirty="0"/>
              <a:t>Sources: Shao et al. 2006, Carletti et al. 2000</a:t>
            </a:r>
          </a:p>
        </p:txBody>
      </p:sp>
      <p:sp>
        <p:nvSpPr>
          <p:cNvPr id="2" name="Slide Number Placeholder 1">
            <a:extLst>
              <a:ext uri="{FF2B5EF4-FFF2-40B4-BE49-F238E27FC236}">
                <a16:creationId xmlns:a16="http://schemas.microsoft.com/office/drawing/2014/main" id="{8B52B355-12CD-54DA-334B-DE563A6E7CFB}"/>
              </a:ext>
            </a:extLst>
          </p:cNvPr>
          <p:cNvSpPr>
            <a:spLocks noGrp="1"/>
          </p:cNvSpPr>
          <p:nvPr>
            <p:ph type="sldNum" sz="quarter" idx="12"/>
          </p:nvPr>
        </p:nvSpPr>
        <p:spPr/>
        <p:txBody>
          <a:bodyPr/>
          <a:lstStyle/>
          <a:p>
            <a:fld id="{EEAD9179-7A6B-4268-BEB2-F3B8EB06115B}" type="slidenum">
              <a:rPr lang="en-US" noProof="0" smtClean="0"/>
              <a:t>13</a:t>
            </a:fld>
            <a:endParaRPr lang="en-US" noProof="0"/>
          </a:p>
        </p:txBody>
      </p:sp>
    </p:spTree>
    <p:extLst>
      <p:ext uri="{BB962C8B-B14F-4D97-AF65-F5344CB8AC3E}">
        <p14:creationId xmlns:p14="http://schemas.microsoft.com/office/powerpoint/2010/main" val="504848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1060582" y="443283"/>
            <a:ext cx="9144000" cy="7316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b="1" i="1" u="sng" dirty="0">
                <a:solidFill>
                  <a:schemeClr val="accent1">
                    <a:lumMod val="50000"/>
                  </a:schemeClr>
                </a:solidFill>
                <a:latin typeface="Calibri Light" panose="020F0302020204030204" pitchFamily="34" charset="0"/>
              </a:rPr>
              <a:t>4km resolution Framework</a:t>
            </a:r>
            <a:endParaRPr lang="en-US" sz="4000" b="1" i="1" u="sng" dirty="0">
              <a:solidFill>
                <a:schemeClr val="accent1">
                  <a:lumMod val="50000"/>
                </a:schemeClr>
              </a:solidFill>
            </a:endParaRPr>
          </a:p>
        </p:txBody>
      </p:sp>
      <p:sp>
        <p:nvSpPr>
          <p:cNvPr id="2" name="Rectangle: Rounded Corners 1">
            <a:extLst>
              <a:ext uri="{FF2B5EF4-FFF2-40B4-BE49-F238E27FC236}">
                <a16:creationId xmlns:a16="http://schemas.microsoft.com/office/drawing/2014/main" id="{D423FFAF-9CDC-ACC2-E90E-850A37957BAA}"/>
              </a:ext>
            </a:extLst>
          </p:cNvPr>
          <p:cNvSpPr/>
          <p:nvPr/>
        </p:nvSpPr>
        <p:spPr>
          <a:xfrm rot="16200000">
            <a:off x="2273539" y="3033635"/>
            <a:ext cx="4469944" cy="1206370"/>
          </a:xfrm>
          <a:prstGeom prst="round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rPr>
              <a:t>Data Resampling to </a:t>
            </a:r>
          </a:p>
          <a:p>
            <a:pPr algn="ctr"/>
            <a:r>
              <a:rPr lang="en-US" b="1">
                <a:solidFill>
                  <a:schemeClr val="tx1"/>
                </a:solidFill>
              </a:rPr>
              <a:t>4km Resolution</a:t>
            </a:r>
          </a:p>
        </p:txBody>
      </p:sp>
      <p:sp>
        <p:nvSpPr>
          <p:cNvPr id="3" name="Rectangle 2">
            <a:extLst>
              <a:ext uri="{FF2B5EF4-FFF2-40B4-BE49-F238E27FC236}">
                <a16:creationId xmlns:a16="http://schemas.microsoft.com/office/drawing/2014/main" id="{BBE374DC-2B4D-CC21-509C-1EE76C7459BF}"/>
              </a:ext>
            </a:extLst>
          </p:cNvPr>
          <p:cNvSpPr/>
          <p:nvPr/>
        </p:nvSpPr>
        <p:spPr>
          <a:xfrm>
            <a:off x="2306014" y="2155503"/>
            <a:ext cx="1206368" cy="475299"/>
          </a:xfrm>
          <a:prstGeom prst="rect">
            <a:avLst/>
          </a:prstGeom>
          <a:solidFill>
            <a:schemeClr val="bg1"/>
          </a:solidFill>
          <a:ln>
            <a:solidFill>
              <a:schemeClr val="accent2">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ERA5</a:t>
            </a:r>
          </a:p>
        </p:txBody>
      </p:sp>
      <p:sp>
        <p:nvSpPr>
          <p:cNvPr id="5" name="Oval 4">
            <a:extLst>
              <a:ext uri="{FF2B5EF4-FFF2-40B4-BE49-F238E27FC236}">
                <a16:creationId xmlns:a16="http://schemas.microsoft.com/office/drawing/2014/main" id="{9F7F57A7-442D-82AB-3AD9-521A308C82AF}"/>
              </a:ext>
            </a:extLst>
          </p:cNvPr>
          <p:cNvSpPr/>
          <p:nvPr/>
        </p:nvSpPr>
        <p:spPr>
          <a:xfrm>
            <a:off x="289058" y="2886075"/>
            <a:ext cx="1624012" cy="1038225"/>
          </a:xfrm>
          <a:prstGeom prst="ellipse">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rPr>
              <a:t>Data Query from CSW</a:t>
            </a:r>
          </a:p>
        </p:txBody>
      </p:sp>
      <p:sp>
        <p:nvSpPr>
          <p:cNvPr id="6" name="Rectangle 5">
            <a:extLst>
              <a:ext uri="{FF2B5EF4-FFF2-40B4-BE49-F238E27FC236}">
                <a16:creationId xmlns:a16="http://schemas.microsoft.com/office/drawing/2014/main" id="{D027ECB3-9E9A-490C-3B18-F9FAFF0F379D}"/>
              </a:ext>
            </a:extLst>
          </p:cNvPr>
          <p:cNvSpPr/>
          <p:nvPr/>
        </p:nvSpPr>
        <p:spPr>
          <a:xfrm>
            <a:off x="2306014" y="2821302"/>
            <a:ext cx="1206368" cy="475299"/>
          </a:xfrm>
          <a:prstGeom prst="rect">
            <a:avLst/>
          </a:prstGeom>
          <a:solidFill>
            <a:schemeClr val="bg1"/>
          </a:solidFill>
          <a:ln>
            <a:solidFill>
              <a:schemeClr val="accent2">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Elevation</a:t>
            </a:r>
          </a:p>
        </p:txBody>
      </p:sp>
      <p:sp>
        <p:nvSpPr>
          <p:cNvPr id="7" name="Rectangle 6">
            <a:extLst>
              <a:ext uri="{FF2B5EF4-FFF2-40B4-BE49-F238E27FC236}">
                <a16:creationId xmlns:a16="http://schemas.microsoft.com/office/drawing/2014/main" id="{42710935-B651-FC59-77DA-0FCAAAFDFECA}"/>
              </a:ext>
            </a:extLst>
          </p:cNvPr>
          <p:cNvSpPr/>
          <p:nvPr/>
        </p:nvSpPr>
        <p:spPr>
          <a:xfrm>
            <a:off x="2306014" y="3550620"/>
            <a:ext cx="1206368" cy="475299"/>
          </a:xfrm>
          <a:prstGeom prst="rect">
            <a:avLst/>
          </a:prstGeom>
          <a:solidFill>
            <a:schemeClr val="bg1"/>
          </a:solidFill>
          <a:ln>
            <a:solidFill>
              <a:schemeClr val="accent2">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TWC</a:t>
            </a:r>
          </a:p>
        </p:txBody>
      </p:sp>
      <p:sp>
        <p:nvSpPr>
          <p:cNvPr id="8" name="Rectangle 7">
            <a:extLst>
              <a:ext uri="{FF2B5EF4-FFF2-40B4-BE49-F238E27FC236}">
                <a16:creationId xmlns:a16="http://schemas.microsoft.com/office/drawing/2014/main" id="{A4B40D14-0A2C-A05B-A83A-19A0895929AA}"/>
              </a:ext>
            </a:extLst>
          </p:cNvPr>
          <p:cNvSpPr/>
          <p:nvPr/>
        </p:nvSpPr>
        <p:spPr>
          <a:xfrm>
            <a:off x="2306014" y="4250232"/>
            <a:ext cx="1206368" cy="475299"/>
          </a:xfrm>
          <a:prstGeom prst="rect">
            <a:avLst/>
          </a:prstGeom>
          <a:solidFill>
            <a:schemeClr val="bg1"/>
          </a:solidFill>
          <a:ln>
            <a:solidFill>
              <a:schemeClr val="accent2">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Soil250</a:t>
            </a:r>
          </a:p>
        </p:txBody>
      </p:sp>
      <p:sp>
        <p:nvSpPr>
          <p:cNvPr id="10" name="Cube 9">
            <a:extLst>
              <a:ext uri="{FF2B5EF4-FFF2-40B4-BE49-F238E27FC236}">
                <a16:creationId xmlns:a16="http://schemas.microsoft.com/office/drawing/2014/main" id="{2393CE26-9104-47DD-1444-9251A959AAF8}"/>
              </a:ext>
            </a:extLst>
          </p:cNvPr>
          <p:cNvSpPr/>
          <p:nvPr/>
        </p:nvSpPr>
        <p:spPr>
          <a:xfrm>
            <a:off x="5390065" y="2773918"/>
            <a:ext cx="1476375" cy="1291113"/>
          </a:xfrm>
          <a:prstGeom prst="cube">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i="1">
                <a:solidFill>
                  <a:schemeClr val="tx1"/>
                </a:solidFill>
              </a:rPr>
              <a:t>ML/DL Model</a:t>
            </a:r>
          </a:p>
        </p:txBody>
      </p:sp>
      <p:cxnSp>
        <p:nvCxnSpPr>
          <p:cNvPr id="12" name="Straight Arrow Connector 11">
            <a:extLst>
              <a:ext uri="{FF2B5EF4-FFF2-40B4-BE49-F238E27FC236}">
                <a16:creationId xmlns:a16="http://schemas.microsoft.com/office/drawing/2014/main" id="{3949C65D-F337-77F4-CBF2-3B5676CD78E1}"/>
              </a:ext>
            </a:extLst>
          </p:cNvPr>
          <p:cNvCxnSpPr>
            <a:cxnSpLocks/>
            <a:stCxn id="3" idx="3"/>
            <a:endCxn id="16" idx="2"/>
          </p:cNvCxnSpPr>
          <p:nvPr/>
        </p:nvCxnSpPr>
        <p:spPr>
          <a:xfrm flipV="1">
            <a:off x="3512382" y="2026087"/>
            <a:ext cx="1862138" cy="367066"/>
          </a:xfrm>
          <a:prstGeom prst="straightConnector1">
            <a:avLst/>
          </a:prstGeom>
          <a:ln w="12700">
            <a:solidFill>
              <a:schemeClr val="tx1">
                <a:lumMod val="75000"/>
                <a:lumOff val="25000"/>
              </a:schemeClr>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16" name="Rectangle: Top Corners One Rounded and One Snipped 15">
            <a:extLst>
              <a:ext uri="{FF2B5EF4-FFF2-40B4-BE49-F238E27FC236}">
                <a16:creationId xmlns:a16="http://schemas.microsoft.com/office/drawing/2014/main" id="{84F5F83C-35E6-5099-E1AF-3CD54D9B2E5D}"/>
              </a:ext>
            </a:extLst>
          </p:cNvPr>
          <p:cNvSpPr/>
          <p:nvPr/>
        </p:nvSpPr>
        <p:spPr>
          <a:xfrm>
            <a:off x="5374520" y="1740218"/>
            <a:ext cx="1476375" cy="571737"/>
          </a:xfrm>
          <a:prstGeom prst="snipRound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Input Variables</a:t>
            </a:r>
          </a:p>
        </p:txBody>
      </p:sp>
      <p:sp>
        <p:nvSpPr>
          <p:cNvPr id="17" name="Rectangle: Top Corners One Rounded and One Snipped 16">
            <a:extLst>
              <a:ext uri="{FF2B5EF4-FFF2-40B4-BE49-F238E27FC236}">
                <a16:creationId xmlns:a16="http://schemas.microsoft.com/office/drawing/2014/main" id="{312523D9-B3BC-1E8B-706E-D99E9EB5EB72}"/>
              </a:ext>
            </a:extLst>
          </p:cNvPr>
          <p:cNvSpPr/>
          <p:nvPr/>
        </p:nvSpPr>
        <p:spPr>
          <a:xfrm>
            <a:off x="5374520" y="4615042"/>
            <a:ext cx="1476375" cy="571737"/>
          </a:xfrm>
          <a:prstGeom prst="snipRound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Training Data</a:t>
            </a:r>
          </a:p>
        </p:txBody>
      </p:sp>
      <p:cxnSp>
        <p:nvCxnSpPr>
          <p:cNvPr id="19" name="Straight Arrow Connector 18">
            <a:extLst>
              <a:ext uri="{FF2B5EF4-FFF2-40B4-BE49-F238E27FC236}">
                <a16:creationId xmlns:a16="http://schemas.microsoft.com/office/drawing/2014/main" id="{EAEC5CB0-9F66-9866-7B24-3CB489200CF6}"/>
              </a:ext>
            </a:extLst>
          </p:cNvPr>
          <p:cNvCxnSpPr>
            <a:cxnSpLocks/>
            <a:stCxn id="6" idx="3"/>
            <a:endCxn id="16" idx="2"/>
          </p:cNvCxnSpPr>
          <p:nvPr/>
        </p:nvCxnSpPr>
        <p:spPr>
          <a:xfrm flipV="1">
            <a:off x="3512382" y="2026087"/>
            <a:ext cx="1862138" cy="1032865"/>
          </a:xfrm>
          <a:prstGeom prst="straightConnector1">
            <a:avLst/>
          </a:prstGeom>
          <a:ln w="12700">
            <a:solidFill>
              <a:schemeClr val="tx1">
                <a:lumMod val="75000"/>
                <a:lumOff val="25000"/>
              </a:schemeClr>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C9CE9F37-2325-294A-135B-F0550FAECF93}"/>
              </a:ext>
            </a:extLst>
          </p:cNvPr>
          <p:cNvCxnSpPr>
            <a:cxnSpLocks/>
            <a:stCxn id="7" idx="3"/>
            <a:endCxn id="17" idx="2"/>
          </p:cNvCxnSpPr>
          <p:nvPr/>
        </p:nvCxnSpPr>
        <p:spPr>
          <a:xfrm>
            <a:off x="3512382" y="3788270"/>
            <a:ext cx="1862138" cy="1112641"/>
          </a:xfrm>
          <a:prstGeom prst="straightConnector1">
            <a:avLst/>
          </a:prstGeom>
          <a:ln w="12700">
            <a:solidFill>
              <a:schemeClr val="tx1">
                <a:lumMod val="75000"/>
                <a:lumOff val="25000"/>
              </a:schemeClr>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9D846DE1-8546-CA57-885E-56A2C2534CCB}"/>
              </a:ext>
            </a:extLst>
          </p:cNvPr>
          <p:cNvCxnSpPr>
            <a:cxnSpLocks/>
            <a:stCxn id="16" idx="1"/>
          </p:cNvCxnSpPr>
          <p:nvPr/>
        </p:nvCxnSpPr>
        <p:spPr>
          <a:xfrm flipH="1">
            <a:off x="6112707" y="2311955"/>
            <a:ext cx="1" cy="60489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8C78C693-EAAC-EB89-E338-90AAFBB17839}"/>
              </a:ext>
            </a:extLst>
          </p:cNvPr>
          <p:cNvCxnSpPr>
            <a:cxnSpLocks/>
            <a:stCxn id="17" idx="3"/>
          </p:cNvCxnSpPr>
          <p:nvPr/>
        </p:nvCxnSpPr>
        <p:spPr>
          <a:xfrm flipH="1" flipV="1">
            <a:off x="6112707" y="4065031"/>
            <a:ext cx="1" cy="55001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54CB732F-EFAA-0062-81D8-400F002267C4}"/>
              </a:ext>
            </a:extLst>
          </p:cNvPr>
          <p:cNvCxnSpPr>
            <a:cxnSpLocks/>
            <a:stCxn id="10" idx="5"/>
            <a:endCxn id="41" idx="1"/>
          </p:cNvCxnSpPr>
          <p:nvPr/>
        </p:nvCxnSpPr>
        <p:spPr>
          <a:xfrm>
            <a:off x="6866440" y="3258085"/>
            <a:ext cx="655055" cy="54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1" name="Rectangle 40">
            <a:extLst>
              <a:ext uri="{FF2B5EF4-FFF2-40B4-BE49-F238E27FC236}">
                <a16:creationId xmlns:a16="http://schemas.microsoft.com/office/drawing/2014/main" id="{AF888FBF-A457-95EB-8F40-9876975F7B07}"/>
              </a:ext>
            </a:extLst>
          </p:cNvPr>
          <p:cNvSpPr/>
          <p:nvPr/>
        </p:nvSpPr>
        <p:spPr>
          <a:xfrm>
            <a:off x="7521495" y="2412746"/>
            <a:ext cx="1772723" cy="1691758"/>
          </a:xfrm>
          <a:prstGeom prst="rect">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4km resolution </a:t>
            </a:r>
          </a:p>
          <a:p>
            <a:pPr algn="ctr"/>
            <a:r>
              <a:rPr lang="en-US">
                <a:solidFill>
                  <a:schemeClr val="tx1"/>
                </a:solidFill>
              </a:rPr>
              <a:t>Model interpolated daily weather datasets </a:t>
            </a:r>
          </a:p>
        </p:txBody>
      </p:sp>
      <p:cxnSp>
        <p:nvCxnSpPr>
          <p:cNvPr id="46" name="Straight Arrow Connector 45">
            <a:extLst>
              <a:ext uri="{FF2B5EF4-FFF2-40B4-BE49-F238E27FC236}">
                <a16:creationId xmlns:a16="http://schemas.microsoft.com/office/drawing/2014/main" id="{B50C30AB-5F63-C383-1BCF-41748E23BE0A}"/>
              </a:ext>
            </a:extLst>
          </p:cNvPr>
          <p:cNvCxnSpPr>
            <a:cxnSpLocks/>
            <a:stCxn id="41" idx="3"/>
            <a:endCxn id="49" idx="1"/>
          </p:cNvCxnSpPr>
          <p:nvPr/>
        </p:nvCxnSpPr>
        <p:spPr>
          <a:xfrm flipV="1">
            <a:off x="9294218" y="3258085"/>
            <a:ext cx="910364" cy="54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9" name="Rectangle 48">
            <a:extLst>
              <a:ext uri="{FF2B5EF4-FFF2-40B4-BE49-F238E27FC236}">
                <a16:creationId xmlns:a16="http://schemas.microsoft.com/office/drawing/2014/main" id="{19C589D2-8479-4B0D-4A80-DEFC3E7C4CC5}"/>
              </a:ext>
            </a:extLst>
          </p:cNvPr>
          <p:cNvSpPr/>
          <p:nvPr/>
        </p:nvSpPr>
        <p:spPr>
          <a:xfrm>
            <a:off x="10204582" y="2806987"/>
            <a:ext cx="1466850" cy="902195"/>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ARD at </a:t>
            </a:r>
            <a:r>
              <a:rPr lang="en-US" b="1">
                <a:solidFill>
                  <a:schemeClr val="tx1"/>
                </a:solidFill>
              </a:rPr>
              <a:t>4km</a:t>
            </a:r>
            <a:r>
              <a:rPr lang="en-US">
                <a:solidFill>
                  <a:schemeClr val="tx1"/>
                </a:solidFill>
              </a:rPr>
              <a:t> Resolution</a:t>
            </a:r>
          </a:p>
        </p:txBody>
      </p:sp>
      <p:cxnSp>
        <p:nvCxnSpPr>
          <p:cNvPr id="56" name="Connector: Curved 55">
            <a:extLst>
              <a:ext uri="{FF2B5EF4-FFF2-40B4-BE49-F238E27FC236}">
                <a16:creationId xmlns:a16="http://schemas.microsoft.com/office/drawing/2014/main" id="{FE9C8553-0384-2641-7E80-E9CD677A1BB0}"/>
              </a:ext>
            </a:extLst>
          </p:cNvPr>
          <p:cNvCxnSpPr>
            <a:cxnSpLocks/>
            <a:stCxn id="8" idx="2"/>
          </p:cNvCxnSpPr>
          <p:nvPr/>
        </p:nvCxnSpPr>
        <p:spPr>
          <a:xfrm rot="5400000" flipH="1" flipV="1">
            <a:off x="5608166" y="584297"/>
            <a:ext cx="1442266" cy="6840202"/>
          </a:xfrm>
          <a:prstGeom prst="curvedConnector4">
            <a:avLst>
              <a:gd name="adj1" fmla="val -66042"/>
              <a:gd name="adj2" fmla="val 99805"/>
            </a:avLst>
          </a:prstGeom>
          <a:ln w="9525">
            <a:solidFill>
              <a:schemeClr val="tx1">
                <a:lumMod val="65000"/>
                <a:lumOff val="35000"/>
              </a:schemeClr>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7C59F5D8-CB92-52E7-C960-05BF652B3B6E}"/>
              </a:ext>
            </a:extLst>
          </p:cNvPr>
          <p:cNvCxnSpPr>
            <a:cxnSpLocks/>
            <a:stCxn id="5" idx="6"/>
          </p:cNvCxnSpPr>
          <p:nvPr/>
        </p:nvCxnSpPr>
        <p:spPr>
          <a:xfrm flipV="1">
            <a:off x="1913070" y="3405187"/>
            <a:ext cx="311337"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1" name="Connector: Curved 20">
            <a:extLst>
              <a:ext uri="{FF2B5EF4-FFF2-40B4-BE49-F238E27FC236}">
                <a16:creationId xmlns:a16="http://schemas.microsoft.com/office/drawing/2014/main" id="{633E4688-564C-41FB-BC65-5056A5B90144}"/>
              </a:ext>
            </a:extLst>
          </p:cNvPr>
          <p:cNvCxnSpPr>
            <a:cxnSpLocks/>
            <a:stCxn id="6" idx="1"/>
          </p:cNvCxnSpPr>
          <p:nvPr/>
        </p:nvCxnSpPr>
        <p:spPr>
          <a:xfrm rot="10800000" flipH="1" flipV="1">
            <a:off x="2306014" y="3058951"/>
            <a:ext cx="7443386" cy="152923"/>
          </a:xfrm>
          <a:prstGeom prst="curvedConnector5">
            <a:avLst>
              <a:gd name="adj1" fmla="val -8593"/>
              <a:gd name="adj2" fmla="val -997803"/>
              <a:gd name="adj3" fmla="val 99917"/>
            </a:avLst>
          </a:prstGeom>
          <a:ln w="9525">
            <a:solidFill>
              <a:schemeClr val="tx1">
                <a:lumMod val="65000"/>
                <a:lumOff val="35000"/>
              </a:schemeClr>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13" name="Slide Number Placeholder 12">
            <a:extLst>
              <a:ext uri="{FF2B5EF4-FFF2-40B4-BE49-F238E27FC236}">
                <a16:creationId xmlns:a16="http://schemas.microsoft.com/office/drawing/2014/main" id="{3BF66BB4-76B3-B846-B348-5E45C1721294}"/>
              </a:ext>
            </a:extLst>
          </p:cNvPr>
          <p:cNvSpPr>
            <a:spLocks noGrp="1"/>
          </p:cNvSpPr>
          <p:nvPr>
            <p:ph type="sldNum" sz="quarter" idx="12"/>
          </p:nvPr>
        </p:nvSpPr>
        <p:spPr/>
        <p:txBody>
          <a:bodyPr/>
          <a:lstStyle/>
          <a:p>
            <a:fld id="{EEAD9179-7A6B-4268-BEB2-F3B8EB06115B}" type="slidenum">
              <a:rPr lang="en-US" noProof="0" smtClean="0"/>
              <a:t>14</a:t>
            </a:fld>
            <a:endParaRPr lang="en-US" noProof="0"/>
          </a:p>
        </p:txBody>
      </p:sp>
      <p:sp>
        <p:nvSpPr>
          <p:cNvPr id="14" name="Rectangle 13">
            <a:extLst>
              <a:ext uri="{FF2B5EF4-FFF2-40B4-BE49-F238E27FC236}">
                <a16:creationId xmlns:a16="http://schemas.microsoft.com/office/drawing/2014/main" id="{1ECF1496-C26E-777C-A1F2-11A012EB99FF}"/>
              </a:ext>
            </a:extLst>
          </p:cNvPr>
          <p:cNvSpPr/>
          <p:nvPr/>
        </p:nvSpPr>
        <p:spPr>
          <a:xfrm>
            <a:off x="2313787" y="4248288"/>
            <a:ext cx="1206368" cy="475299"/>
          </a:xfrm>
          <a:prstGeom prst="rect">
            <a:avLst/>
          </a:prstGeom>
          <a:solidFill>
            <a:schemeClr val="accent2">
              <a:lumMod val="20000"/>
              <a:lumOff val="80000"/>
            </a:schemeClr>
          </a:solidFill>
          <a:ln>
            <a:solidFill>
              <a:schemeClr val="accent2">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Soil250</a:t>
            </a:r>
          </a:p>
        </p:txBody>
      </p:sp>
      <p:sp>
        <p:nvSpPr>
          <p:cNvPr id="15" name="Rectangle 14">
            <a:extLst>
              <a:ext uri="{FF2B5EF4-FFF2-40B4-BE49-F238E27FC236}">
                <a16:creationId xmlns:a16="http://schemas.microsoft.com/office/drawing/2014/main" id="{9E0E1CDE-6703-FD9D-1A66-476619E1C835}"/>
              </a:ext>
            </a:extLst>
          </p:cNvPr>
          <p:cNvSpPr/>
          <p:nvPr/>
        </p:nvSpPr>
        <p:spPr>
          <a:xfrm>
            <a:off x="2306013" y="2821302"/>
            <a:ext cx="1206368" cy="475299"/>
          </a:xfrm>
          <a:prstGeom prst="rect">
            <a:avLst/>
          </a:prstGeom>
          <a:solidFill>
            <a:schemeClr val="accent2">
              <a:lumMod val="20000"/>
              <a:lumOff val="80000"/>
            </a:schemeClr>
          </a:solidFill>
          <a:ln>
            <a:solidFill>
              <a:schemeClr val="accent2">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Elevation</a:t>
            </a:r>
          </a:p>
        </p:txBody>
      </p:sp>
      <p:sp>
        <p:nvSpPr>
          <p:cNvPr id="18" name="TextBox 17">
            <a:extLst>
              <a:ext uri="{FF2B5EF4-FFF2-40B4-BE49-F238E27FC236}">
                <a16:creationId xmlns:a16="http://schemas.microsoft.com/office/drawing/2014/main" id="{2EC65C43-8A7C-E56C-A017-801E1D3F8056}"/>
              </a:ext>
            </a:extLst>
          </p:cNvPr>
          <p:cNvSpPr txBox="1"/>
          <p:nvPr/>
        </p:nvSpPr>
        <p:spPr>
          <a:xfrm>
            <a:off x="428625" y="6126699"/>
            <a:ext cx="10509382" cy="369332"/>
          </a:xfrm>
          <a:prstGeom prst="rect">
            <a:avLst/>
          </a:prstGeom>
          <a:noFill/>
        </p:spPr>
        <p:txBody>
          <a:bodyPr wrap="square" rtlCol="0">
            <a:spAutoFit/>
          </a:bodyPr>
          <a:lstStyle/>
          <a:p>
            <a:pPr marL="285750" indent="-285750">
              <a:buFont typeface="Wingdings" panose="05000000000000000000" pitchFamily="2" charset="2"/>
              <a:buChar char="Ø"/>
            </a:pPr>
            <a:r>
              <a:rPr lang="en-US"/>
              <a:t>4km resolution as the target resolution based of TWC’s spatial resolution. </a:t>
            </a:r>
          </a:p>
        </p:txBody>
      </p:sp>
    </p:spTree>
    <p:extLst>
      <p:ext uri="{BB962C8B-B14F-4D97-AF65-F5344CB8AC3E}">
        <p14:creationId xmlns:p14="http://schemas.microsoft.com/office/powerpoint/2010/main" val="30454176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50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50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ppt_x"/>
                                          </p:val>
                                        </p:tav>
                                        <p:tav tm="100000">
                                          <p:val>
                                            <p:strVal val="#ppt_x"/>
                                          </p:val>
                                        </p:tav>
                                      </p:tavLst>
                                    </p:anim>
                                    <p:anim calcmode="lin" valueType="num">
                                      <p:cBhvr additive="base">
                                        <p:cTn id="12" dur="500" fill="hold"/>
                                        <p:tgtEl>
                                          <p:spTgt spid="6"/>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50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fill="hold"/>
                                        <p:tgtEl>
                                          <p:spTgt spid="7"/>
                                        </p:tgtEl>
                                        <p:attrNameLst>
                                          <p:attrName>ppt_x</p:attrName>
                                        </p:attrNameLst>
                                      </p:cBhvr>
                                      <p:tavLst>
                                        <p:tav tm="0">
                                          <p:val>
                                            <p:strVal val="#ppt_x"/>
                                          </p:val>
                                        </p:tav>
                                        <p:tav tm="100000">
                                          <p:val>
                                            <p:strVal val="#ppt_x"/>
                                          </p:val>
                                        </p:tav>
                                      </p:tavLst>
                                    </p:anim>
                                    <p:anim calcmode="lin" valueType="num">
                                      <p:cBhvr additive="base">
                                        <p:cTn id="16" dur="500" fill="hold"/>
                                        <p:tgtEl>
                                          <p:spTgt spid="7"/>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50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500" fill="hold"/>
                                        <p:tgtEl>
                                          <p:spTgt spid="8"/>
                                        </p:tgtEl>
                                        <p:attrNameLst>
                                          <p:attrName>ppt_x</p:attrName>
                                        </p:attrNameLst>
                                      </p:cBhvr>
                                      <p:tavLst>
                                        <p:tav tm="0">
                                          <p:val>
                                            <p:strVal val="#ppt_x"/>
                                          </p:val>
                                        </p:tav>
                                        <p:tav tm="100000">
                                          <p:val>
                                            <p:strVal val="#ppt_x"/>
                                          </p:val>
                                        </p:tav>
                                      </p:tavLst>
                                    </p:anim>
                                    <p:anim calcmode="lin" valueType="num">
                                      <p:cBhvr additive="base">
                                        <p:cTn id="20" dur="500" fill="hold"/>
                                        <p:tgtEl>
                                          <p:spTgt spid="8"/>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500"/>
                                  </p:stCondLst>
                                  <p:childTnLst>
                                    <p:set>
                                      <p:cBhvr>
                                        <p:cTn id="22" dur="1" fill="hold">
                                          <p:stCondLst>
                                            <p:cond delay="0"/>
                                          </p:stCondLst>
                                        </p:cTn>
                                        <p:tgtEl>
                                          <p:spTgt spid="74"/>
                                        </p:tgtEl>
                                        <p:attrNameLst>
                                          <p:attrName>style.visibility</p:attrName>
                                        </p:attrNameLst>
                                      </p:cBhvr>
                                      <p:to>
                                        <p:strVal val="visible"/>
                                      </p:to>
                                    </p:set>
                                    <p:anim calcmode="lin" valueType="num">
                                      <p:cBhvr additive="base">
                                        <p:cTn id="23" dur="500" fill="hold"/>
                                        <p:tgtEl>
                                          <p:spTgt spid="74"/>
                                        </p:tgtEl>
                                        <p:attrNameLst>
                                          <p:attrName>ppt_x</p:attrName>
                                        </p:attrNameLst>
                                      </p:cBhvr>
                                      <p:tavLst>
                                        <p:tav tm="0">
                                          <p:val>
                                            <p:strVal val="#ppt_x"/>
                                          </p:val>
                                        </p:tav>
                                        <p:tav tm="100000">
                                          <p:val>
                                            <p:strVal val="#ppt_x"/>
                                          </p:val>
                                        </p:tav>
                                      </p:tavLst>
                                    </p:anim>
                                    <p:anim calcmode="lin" valueType="num">
                                      <p:cBhvr additive="base">
                                        <p:cTn id="24" dur="500" fill="hold"/>
                                        <p:tgtEl>
                                          <p:spTgt spid="74"/>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12"/>
                                        </p:tgtEl>
                                        <p:attrNameLst>
                                          <p:attrName>style.visibility</p:attrName>
                                        </p:attrNameLst>
                                      </p:cBhvr>
                                      <p:to>
                                        <p:strVal val="visible"/>
                                      </p:to>
                                    </p:set>
                                    <p:animEffect transition="in" filter="fade">
                                      <p:cBhvr>
                                        <p:cTn id="33" dur="500"/>
                                        <p:tgtEl>
                                          <p:spTgt spid="12"/>
                                        </p:tgtEl>
                                      </p:cBhvr>
                                    </p:animEffect>
                                  </p:childTnLst>
                                </p:cTn>
                              </p:par>
                              <p:par>
                                <p:cTn id="34" presetID="10" presetClass="entr" presetSubtype="0" fill="hold" nodeType="withEffect">
                                  <p:stCondLst>
                                    <p:cond delay="0"/>
                                  </p:stCondLst>
                                  <p:childTnLst>
                                    <p:set>
                                      <p:cBhvr>
                                        <p:cTn id="35" dur="1" fill="hold">
                                          <p:stCondLst>
                                            <p:cond delay="0"/>
                                          </p:stCondLst>
                                        </p:cTn>
                                        <p:tgtEl>
                                          <p:spTgt spid="19"/>
                                        </p:tgtEl>
                                        <p:attrNameLst>
                                          <p:attrName>style.visibility</p:attrName>
                                        </p:attrNameLst>
                                      </p:cBhvr>
                                      <p:to>
                                        <p:strVal val="visible"/>
                                      </p:to>
                                    </p:set>
                                    <p:animEffect transition="in" filter="fade">
                                      <p:cBhvr>
                                        <p:cTn id="36" dur="500"/>
                                        <p:tgtEl>
                                          <p:spTgt spid="19"/>
                                        </p:tgtEl>
                                      </p:cBhvr>
                                    </p:animEffect>
                                  </p:childTnLst>
                                </p:cTn>
                              </p:par>
                              <p:par>
                                <p:cTn id="37" presetID="10" presetClass="entr" presetSubtype="0" fill="hold" nodeType="withEffect">
                                  <p:stCondLst>
                                    <p:cond delay="0"/>
                                  </p:stCondLst>
                                  <p:childTnLst>
                                    <p:set>
                                      <p:cBhvr>
                                        <p:cTn id="38" dur="1" fill="hold">
                                          <p:stCondLst>
                                            <p:cond delay="0"/>
                                          </p:stCondLst>
                                        </p:cTn>
                                        <p:tgtEl>
                                          <p:spTgt spid="22"/>
                                        </p:tgtEl>
                                        <p:attrNameLst>
                                          <p:attrName>style.visibility</p:attrName>
                                        </p:attrNameLst>
                                      </p:cBhvr>
                                      <p:to>
                                        <p:strVal val="visible"/>
                                      </p:to>
                                    </p:set>
                                    <p:animEffect transition="in" filter="fade">
                                      <p:cBhvr>
                                        <p:cTn id="39" dur="500"/>
                                        <p:tgtEl>
                                          <p:spTgt spid="22"/>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6"/>
                                        </p:tgtEl>
                                        <p:attrNameLst>
                                          <p:attrName>style.visibility</p:attrName>
                                        </p:attrNameLst>
                                      </p:cBhvr>
                                      <p:to>
                                        <p:strVal val="visible"/>
                                      </p:to>
                                    </p:set>
                                    <p:animEffect transition="in" filter="fade">
                                      <p:cBhvr>
                                        <p:cTn id="42" dur="500"/>
                                        <p:tgtEl>
                                          <p:spTgt spid="16"/>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7"/>
                                        </p:tgtEl>
                                        <p:attrNameLst>
                                          <p:attrName>style.visibility</p:attrName>
                                        </p:attrNameLst>
                                      </p:cBhvr>
                                      <p:to>
                                        <p:strVal val="visible"/>
                                      </p:to>
                                    </p:set>
                                    <p:animEffect transition="in" filter="fade">
                                      <p:cBhvr>
                                        <p:cTn id="45" dur="500"/>
                                        <p:tgtEl>
                                          <p:spTgt spid="17"/>
                                        </p:tgtEl>
                                      </p:cBhvr>
                                    </p:animEffect>
                                  </p:childTnLst>
                                </p:cTn>
                              </p:par>
                            </p:childTnLst>
                          </p:cTn>
                        </p:par>
                      </p:childTnLst>
                    </p:cTn>
                  </p:par>
                  <p:par>
                    <p:cTn id="46" fill="hold">
                      <p:stCondLst>
                        <p:cond delay="indefinite"/>
                      </p:stCondLst>
                      <p:childTnLst>
                        <p:par>
                          <p:cTn id="47" fill="hold">
                            <p:stCondLst>
                              <p:cond delay="0"/>
                            </p:stCondLst>
                            <p:childTnLst>
                              <p:par>
                                <p:cTn id="48" presetID="16" presetClass="entr" presetSubtype="21" fill="hold" nodeType="clickEffect">
                                  <p:stCondLst>
                                    <p:cond delay="0"/>
                                  </p:stCondLst>
                                  <p:childTnLst>
                                    <p:set>
                                      <p:cBhvr>
                                        <p:cTn id="49" dur="1" fill="hold">
                                          <p:stCondLst>
                                            <p:cond delay="0"/>
                                          </p:stCondLst>
                                        </p:cTn>
                                        <p:tgtEl>
                                          <p:spTgt spid="26"/>
                                        </p:tgtEl>
                                        <p:attrNameLst>
                                          <p:attrName>style.visibility</p:attrName>
                                        </p:attrNameLst>
                                      </p:cBhvr>
                                      <p:to>
                                        <p:strVal val="visible"/>
                                      </p:to>
                                    </p:set>
                                    <p:animEffect transition="in" filter="barn(inVertical)">
                                      <p:cBhvr>
                                        <p:cTn id="50" dur="500"/>
                                        <p:tgtEl>
                                          <p:spTgt spid="26"/>
                                        </p:tgtEl>
                                      </p:cBhvr>
                                    </p:animEffect>
                                  </p:childTnLst>
                                </p:cTn>
                              </p:par>
                              <p:par>
                                <p:cTn id="51" presetID="16" presetClass="entr" presetSubtype="21" fill="hold" nodeType="withEffect">
                                  <p:stCondLst>
                                    <p:cond delay="0"/>
                                  </p:stCondLst>
                                  <p:childTnLst>
                                    <p:set>
                                      <p:cBhvr>
                                        <p:cTn id="52" dur="1" fill="hold">
                                          <p:stCondLst>
                                            <p:cond delay="0"/>
                                          </p:stCondLst>
                                        </p:cTn>
                                        <p:tgtEl>
                                          <p:spTgt spid="27"/>
                                        </p:tgtEl>
                                        <p:attrNameLst>
                                          <p:attrName>style.visibility</p:attrName>
                                        </p:attrNameLst>
                                      </p:cBhvr>
                                      <p:to>
                                        <p:strVal val="visible"/>
                                      </p:to>
                                    </p:set>
                                    <p:animEffect transition="in" filter="barn(inVertical)">
                                      <p:cBhvr>
                                        <p:cTn id="53" dur="500"/>
                                        <p:tgtEl>
                                          <p:spTgt spid="27"/>
                                        </p:tgtEl>
                                      </p:cBhvr>
                                    </p:animEffect>
                                  </p:childTnLst>
                                </p:cTn>
                              </p:par>
                              <p:par>
                                <p:cTn id="54" presetID="16" presetClass="entr" presetSubtype="21" fill="hold" grpId="0" nodeType="with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barn(inVertical)">
                                      <p:cBhvr>
                                        <p:cTn id="56" dur="500"/>
                                        <p:tgtEl>
                                          <p:spTgt spid="10"/>
                                        </p:tgtEl>
                                      </p:cBhvr>
                                    </p:animEffect>
                                  </p:childTnLst>
                                </p:cTn>
                              </p:par>
                            </p:childTnLst>
                          </p:cTn>
                        </p:par>
                      </p:childTnLst>
                    </p:cTn>
                  </p:par>
                  <p:par>
                    <p:cTn id="57" fill="hold">
                      <p:stCondLst>
                        <p:cond delay="indefinite"/>
                      </p:stCondLst>
                      <p:childTnLst>
                        <p:par>
                          <p:cTn id="58" fill="hold">
                            <p:stCondLst>
                              <p:cond delay="0"/>
                            </p:stCondLst>
                            <p:childTnLst>
                              <p:par>
                                <p:cTn id="59" presetID="53" presetClass="entr" presetSubtype="16" fill="hold" grpId="0" nodeType="clickEffect">
                                  <p:stCondLst>
                                    <p:cond delay="0"/>
                                  </p:stCondLst>
                                  <p:childTnLst>
                                    <p:set>
                                      <p:cBhvr>
                                        <p:cTn id="60" dur="1" fill="hold">
                                          <p:stCondLst>
                                            <p:cond delay="0"/>
                                          </p:stCondLst>
                                        </p:cTn>
                                        <p:tgtEl>
                                          <p:spTgt spid="41"/>
                                        </p:tgtEl>
                                        <p:attrNameLst>
                                          <p:attrName>style.visibility</p:attrName>
                                        </p:attrNameLst>
                                      </p:cBhvr>
                                      <p:to>
                                        <p:strVal val="visible"/>
                                      </p:to>
                                    </p:set>
                                    <p:anim calcmode="lin" valueType="num">
                                      <p:cBhvr>
                                        <p:cTn id="61" dur="500" fill="hold"/>
                                        <p:tgtEl>
                                          <p:spTgt spid="41"/>
                                        </p:tgtEl>
                                        <p:attrNameLst>
                                          <p:attrName>ppt_w</p:attrName>
                                        </p:attrNameLst>
                                      </p:cBhvr>
                                      <p:tavLst>
                                        <p:tav tm="0">
                                          <p:val>
                                            <p:fltVal val="0"/>
                                          </p:val>
                                        </p:tav>
                                        <p:tav tm="100000">
                                          <p:val>
                                            <p:strVal val="#ppt_w"/>
                                          </p:val>
                                        </p:tav>
                                      </p:tavLst>
                                    </p:anim>
                                    <p:anim calcmode="lin" valueType="num">
                                      <p:cBhvr>
                                        <p:cTn id="62" dur="500" fill="hold"/>
                                        <p:tgtEl>
                                          <p:spTgt spid="41"/>
                                        </p:tgtEl>
                                        <p:attrNameLst>
                                          <p:attrName>ppt_h</p:attrName>
                                        </p:attrNameLst>
                                      </p:cBhvr>
                                      <p:tavLst>
                                        <p:tav tm="0">
                                          <p:val>
                                            <p:fltVal val="0"/>
                                          </p:val>
                                        </p:tav>
                                        <p:tav tm="100000">
                                          <p:val>
                                            <p:strVal val="#ppt_h"/>
                                          </p:val>
                                        </p:tav>
                                      </p:tavLst>
                                    </p:anim>
                                    <p:animEffect transition="in" filter="fade">
                                      <p:cBhvr>
                                        <p:cTn id="63" dur="500"/>
                                        <p:tgtEl>
                                          <p:spTgt spid="41"/>
                                        </p:tgtEl>
                                      </p:cBhvr>
                                    </p:animEffect>
                                  </p:childTnLst>
                                </p:cTn>
                              </p:par>
                              <p:par>
                                <p:cTn id="64" presetID="53" presetClass="entr" presetSubtype="16" fill="hold" nodeType="withEffect">
                                  <p:stCondLst>
                                    <p:cond delay="0"/>
                                  </p:stCondLst>
                                  <p:childTnLst>
                                    <p:set>
                                      <p:cBhvr>
                                        <p:cTn id="65" dur="1" fill="hold">
                                          <p:stCondLst>
                                            <p:cond delay="0"/>
                                          </p:stCondLst>
                                        </p:cTn>
                                        <p:tgtEl>
                                          <p:spTgt spid="38"/>
                                        </p:tgtEl>
                                        <p:attrNameLst>
                                          <p:attrName>style.visibility</p:attrName>
                                        </p:attrNameLst>
                                      </p:cBhvr>
                                      <p:to>
                                        <p:strVal val="visible"/>
                                      </p:to>
                                    </p:set>
                                    <p:anim calcmode="lin" valueType="num">
                                      <p:cBhvr>
                                        <p:cTn id="66" dur="500" fill="hold"/>
                                        <p:tgtEl>
                                          <p:spTgt spid="38"/>
                                        </p:tgtEl>
                                        <p:attrNameLst>
                                          <p:attrName>ppt_w</p:attrName>
                                        </p:attrNameLst>
                                      </p:cBhvr>
                                      <p:tavLst>
                                        <p:tav tm="0">
                                          <p:val>
                                            <p:fltVal val="0"/>
                                          </p:val>
                                        </p:tav>
                                        <p:tav tm="100000">
                                          <p:val>
                                            <p:strVal val="#ppt_w"/>
                                          </p:val>
                                        </p:tav>
                                      </p:tavLst>
                                    </p:anim>
                                    <p:anim calcmode="lin" valueType="num">
                                      <p:cBhvr>
                                        <p:cTn id="67" dur="500" fill="hold"/>
                                        <p:tgtEl>
                                          <p:spTgt spid="38"/>
                                        </p:tgtEl>
                                        <p:attrNameLst>
                                          <p:attrName>ppt_h</p:attrName>
                                        </p:attrNameLst>
                                      </p:cBhvr>
                                      <p:tavLst>
                                        <p:tav tm="0">
                                          <p:val>
                                            <p:fltVal val="0"/>
                                          </p:val>
                                        </p:tav>
                                        <p:tav tm="100000">
                                          <p:val>
                                            <p:strVal val="#ppt_h"/>
                                          </p:val>
                                        </p:tav>
                                      </p:tavLst>
                                    </p:anim>
                                    <p:animEffect transition="in" filter="fade">
                                      <p:cBhvr>
                                        <p:cTn id="68" dur="500"/>
                                        <p:tgtEl>
                                          <p:spTgt spid="38"/>
                                        </p:tgtEl>
                                      </p:cBhvr>
                                    </p:animEffect>
                                  </p:childTnLst>
                                </p:cTn>
                              </p:par>
                            </p:childTnLst>
                          </p:cTn>
                        </p:par>
                      </p:childTnLst>
                    </p:cTn>
                  </p:par>
                  <p:par>
                    <p:cTn id="69" fill="hold">
                      <p:stCondLst>
                        <p:cond delay="indefinite"/>
                      </p:stCondLst>
                      <p:childTnLst>
                        <p:par>
                          <p:cTn id="70" fill="hold">
                            <p:stCondLst>
                              <p:cond delay="0"/>
                            </p:stCondLst>
                            <p:childTnLst>
                              <p:par>
                                <p:cTn id="71" presetID="53" presetClass="entr" presetSubtype="16" fill="hold" nodeType="clickEffect">
                                  <p:stCondLst>
                                    <p:cond delay="0"/>
                                  </p:stCondLst>
                                  <p:childTnLst>
                                    <p:set>
                                      <p:cBhvr>
                                        <p:cTn id="72" dur="1" fill="hold">
                                          <p:stCondLst>
                                            <p:cond delay="0"/>
                                          </p:stCondLst>
                                        </p:cTn>
                                        <p:tgtEl>
                                          <p:spTgt spid="46"/>
                                        </p:tgtEl>
                                        <p:attrNameLst>
                                          <p:attrName>style.visibility</p:attrName>
                                        </p:attrNameLst>
                                      </p:cBhvr>
                                      <p:to>
                                        <p:strVal val="visible"/>
                                      </p:to>
                                    </p:set>
                                    <p:anim calcmode="lin" valueType="num">
                                      <p:cBhvr>
                                        <p:cTn id="73" dur="500" fill="hold"/>
                                        <p:tgtEl>
                                          <p:spTgt spid="46"/>
                                        </p:tgtEl>
                                        <p:attrNameLst>
                                          <p:attrName>ppt_w</p:attrName>
                                        </p:attrNameLst>
                                      </p:cBhvr>
                                      <p:tavLst>
                                        <p:tav tm="0">
                                          <p:val>
                                            <p:fltVal val="0"/>
                                          </p:val>
                                        </p:tav>
                                        <p:tav tm="100000">
                                          <p:val>
                                            <p:strVal val="#ppt_w"/>
                                          </p:val>
                                        </p:tav>
                                      </p:tavLst>
                                    </p:anim>
                                    <p:anim calcmode="lin" valueType="num">
                                      <p:cBhvr>
                                        <p:cTn id="74" dur="500" fill="hold"/>
                                        <p:tgtEl>
                                          <p:spTgt spid="46"/>
                                        </p:tgtEl>
                                        <p:attrNameLst>
                                          <p:attrName>ppt_h</p:attrName>
                                        </p:attrNameLst>
                                      </p:cBhvr>
                                      <p:tavLst>
                                        <p:tav tm="0">
                                          <p:val>
                                            <p:fltVal val="0"/>
                                          </p:val>
                                        </p:tav>
                                        <p:tav tm="100000">
                                          <p:val>
                                            <p:strVal val="#ppt_h"/>
                                          </p:val>
                                        </p:tav>
                                      </p:tavLst>
                                    </p:anim>
                                    <p:animEffect transition="in" filter="fade">
                                      <p:cBhvr>
                                        <p:cTn id="75" dur="500"/>
                                        <p:tgtEl>
                                          <p:spTgt spid="46"/>
                                        </p:tgtEl>
                                      </p:cBhvr>
                                    </p:animEffect>
                                  </p:childTnLst>
                                </p:cTn>
                              </p:par>
                              <p:par>
                                <p:cTn id="76" presetID="53" presetClass="entr" presetSubtype="16" fill="hold" grpId="0" nodeType="withEffect">
                                  <p:stCondLst>
                                    <p:cond delay="0"/>
                                  </p:stCondLst>
                                  <p:childTnLst>
                                    <p:set>
                                      <p:cBhvr>
                                        <p:cTn id="77" dur="1" fill="hold">
                                          <p:stCondLst>
                                            <p:cond delay="0"/>
                                          </p:stCondLst>
                                        </p:cTn>
                                        <p:tgtEl>
                                          <p:spTgt spid="49"/>
                                        </p:tgtEl>
                                        <p:attrNameLst>
                                          <p:attrName>style.visibility</p:attrName>
                                        </p:attrNameLst>
                                      </p:cBhvr>
                                      <p:to>
                                        <p:strVal val="visible"/>
                                      </p:to>
                                    </p:set>
                                    <p:anim calcmode="lin" valueType="num">
                                      <p:cBhvr>
                                        <p:cTn id="78" dur="500" fill="hold"/>
                                        <p:tgtEl>
                                          <p:spTgt spid="49"/>
                                        </p:tgtEl>
                                        <p:attrNameLst>
                                          <p:attrName>ppt_w</p:attrName>
                                        </p:attrNameLst>
                                      </p:cBhvr>
                                      <p:tavLst>
                                        <p:tav tm="0">
                                          <p:val>
                                            <p:fltVal val="0"/>
                                          </p:val>
                                        </p:tav>
                                        <p:tav tm="100000">
                                          <p:val>
                                            <p:strVal val="#ppt_w"/>
                                          </p:val>
                                        </p:tav>
                                      </p:tavLst>
                                    </p:anim>
                                    <p:anim calcmode="lin" valueType="num">
                                      <p:cBhvr>
                                        <p:cTn id="79" dur="500" fill="hold"/>
                                        <p:tgtEl>
                                          <p:spTgt spid="49"/>
                                        </p:tgtEl>
                                        <p:attrNameLst>
                                          <p:attrName>ppt_h</p:attrName>
                                        </p:attrNameLst>
                                      </p:cBhvr>
                                      <p:tavLst>
                                        <p:tav tm="0">
                                          <p:val>
                                            <p:fltVal val="0"/>
                                          </p:val>
                                        </p:tav>
                                        <p:tav tm="100000">
                                          <p:val>
                                            <p:strVal val="#ppt_h"/>
                                          </p:val>
                                        </p:tav>
                                      </p:tavLst>
                                    </p:anim>
                                    <p:animEffect transition="in" filter="fade">
                                      <p:cBhvr>
                                        <p:cTn id="80" dur="500"/>
                                        <p:tgtEl>
                                          <p:spTgt spid="49"/>
                                        </p:tgtEl>
                                      </p:cBhvr>
                                    </p:animEffect>
                                  </p:childTnLst>
                                </p:cTn>
                              </p:par>
                            </p:childTnLst>
                          </p:cTn>
                        </p:par>
                      </p:childTnLst>
                    </p:cTn>
                  </p:par>
                  <p:par>
                    <p:cTn id="81" fill="hold">
                      <p:stCondLst>
                        <p:cond delay="indefinite"/>
                      </p:stCondLst>
                      <p:childTnLst>
                        <p:par>
                          <p:cTn id="82" fill="hold">
                            <p:stCondLst>
                              <p:cond delay="0"/>
                            </p:stCondLst>
                            <p:childTnLst>
                              <p:par>
                                <p:cTn id="83" presetID="53" presetClass="entr" presetSubtype="16" fill="hold" grpId="0" nodeType="clickEffect">
                                  <p:stCondLst>
                                    <p:cond delay="0"/>
                                  </p:stCondLst>
                                  <p:childTnLst>
                                    <p:set>
                                      <p:cBhvr>
                                        <p:cTn id="84" dur="1" fill="hold">
                                          <p:stCondLst>
                                            <p:cond delay="0"/>
                                          </p:stCondLst>
                                        </p:cTn>
                                        <p:tgtEl>
                                          <p:spTgt spid="15"/>
                                        </p:tgtEl>
                                        <p:attrNameLst>
                                          <p:attrName>style.visibility</p:attrName>
                                        </p:attrNameLst>
                                      </p:cBhvr>
                                      <p:to>
                                        <p:strVal val="visible"/>
                                      </p:to>
                                    </p:set>
                                    <p:anim calcmode="lin" valueType="num">
                                      <p:cBhvr>
                                        <p:cTn id="85" dur="500" fill="hold"/>
                                        <p:tgtEl>
                                          <p:spTgt spid="15"/>
                                        </p:tgtEl>
                                        <p:attrNameLst>
                                          <p:attrName>ppt_w</p:attrName>
                                        </p:attrNameLst>
                                      </p:cBhvr>
                                      <p:tavLst>
                                        <p:tav tm="0">
                                          <p:val>
                                            <p:fltVal val="0"/>
                                          </p:val>
                                        </p:tav>
                                        <p:tav tm="100000">
                                          <p:val>
                                            <p:strVal val="#ppt_w"/>
                                          </p:val>
                                        </p:tav>
                                      </p:tavLst>
                                    </p:anim>
                                    <p:anim calcmode="lin" valueType="num">
                                      <p:cBhvr>
                                        <p:cTn id="86" dur="500" fill="hold"/>
                                        <p:tgtEl>
                                          <p:spTgt spid="15"/>
                                        </p:tgtEl>
                                        <p:attrNameLst>
                                          <p:attrName>ppt_h</p:attrName>
                                        </p:attrNameLst>
                                      </p:cBhvr>
                                      <p:tavLst>
                                        <p:tav tm="0">
                                          <p:val>
                                            <p:fltVal val="0"/>
                                          </p:val>
                                        </p:tav>
                                        <p:tav tm="100000">
                                          <p:val>
                                            <p:strVal val="#ppt_h"/>
                                          </p:val>
                                        </p:tav>
                                      </p:tavLst>
                                    </p:anim>
                                    <p:animEffect transition="in" filter="fade">
                                      <p:cBhvr>
                                        <p:cTn id="87" dur="500"/>
                                        <p:tgtEl>
                                          <p:spTgt spid="15"/>
                                        </p:tgtEl>
                                      </p:cBhvr>
                                    </p:animEffect>
                                  </p:childTnLst>
                                </p:cTn>
                              </p:par>
                              <p:par>
                                <p:cTn id="88" presetID="53" presetClass="entr" presetSubtype="16" fill="hold" nodeType="withEffect">
                                  <p:stCondLst>
                                    <p:cond delay="0"/>
                                  </p:stCondLst>
                                  <p:childTnLst>
                                    <p:set>
                                      <p:cBhvr>
                                        <p:cTn id="89" dur="1" fill="hold">
                                          <p:stCondLst>
                                            <p:cond delay="0"/>
                                          </p:stCondLst>
                                        </p:cTn>
                                        <p:tgtEl>
                                          <p:spTgt spid="21"/>
                                        </p:tgtEl>
                                        <p:attrNameLst>
                                          <p:attrName>style.visibility</p:attrName>
                                        </p:attrNameLst>
                                      </p:cBhvr>
                                      <p:to>
                                        <p:strVal val="visible"/>
                                      </p:to>
                                    </p:set>
                                    <p:anim calcmode="lin" valueType="num">
                                      <p:cBhvr>
                                        <p:cTn id="90" dur="500" fill="hold"/>
                                        <p:tgtEl>
                                          <p:spTgt spid="21"/>
                                        </p:tgtEl>
                                        <p:attrNameLst>
                                          <p:attrName>ppt_w</p:attrName>
                                        </p:attrNameLst>
                                      </p:cBhvr>
                                      <p:tavLst>
                                        <p:tav tm="0">
                                          <p:val>
                                            <p:fltVal val="0"/>
                                          </p:val>
                                        </p:tav>
                                        <p:tav tm="100000">
                                          <p:val>
                                            <p:strVal val="#ppt_w"/>
                                          </p:val>
                                        </p:tav>
                                      </p:tavLst>
                                    </p:anim>
                                    <p:anim calcmode="lin" valueType="num">
                                      <p:cBhvr>
                                        <p:cTn id="91" dur="500" fill="hold"/>
                                        <p:tgtEl>
                                          <p:spTgt spid="21"/>
                                        </p:tgtEl>
                                        <p:attrNameLst>
                                          <p:attrName>ppt_h</p:attrName>
                                        </p:attrNameLst>
                                      </p:cBhvr>
                                      <p:tavLst>
                                        <p:tav tm="0">
                                          <p:val>
                                            <p:fltVal val="0"/>
                                          </p:val>
                                        </p:tav>
                                        <p:tav tm="100000">
                                          <p:val>
                                            <p:strVal val="#ppt_h"/>
                                          </p:val>
                                        </p:tav>
                                      </p:tavLst>
                                    </p:anim>
                                    <p:animEffect transition="in" filter="fade">
                                      <p:cBhvr>
                                        <p:cTn id="92" dur="500"/>
                                        <p:tgtEl>
                                          <p:spTgt spid="21"/>
                                        </p:tgtEl>
                                      </p:cBhvr>
                                    </p:animEffect>
                                  </p:childTnLst>
                                </p:cTn>
                              </p:par>
                              <p:par>
                                <p:cTn id="93" presetID="53" presetClass="entr" presetSubtype="16" fill="hold" grpId="0" nodeType="withEffect">
                                  <p:stCondLst>
                                    <p:cond delay="0"/>
                                  </p:stCondLst>
                                  <p:childTnLst>
                                    <p:set>
                                      <p:cBhvr>
                                        <p:cTn id="94" dur="1" fill="hold">
                                          <p:stCondLst>
                                            <p:cond delay="0"/>
                                          </p:stCondLst>
                                        </p:cTn>
                                        <p:tgtEl>
                                          <p:spTgt spid="14"/>
                                        </p:tgtEl>
                                        <p:attrNameLst>
                                          <p:attrName>style.visibility</p:attrName>
                                        </p:attrNameLst>
                                      </p:cBhvr>
                                      <p:to>
                                        <p:strVal val="visible"/>
                                      </p:to>
                                    </p:set>
                                    <p:anim calcmode="lin" valueType="num">
                                      <p:cBhvr>
                                        <p:cTn id="95" dur="500" fill="hold"/>
                                        <p:tgtEl>
                                          <p:spTgt spid="14"/>
                                        </p:tgtEl>
                                        <p:attrNameLst>
                                          <p:attrName>ppt_w</p:attrName>
                                        </p:attrNameLst>
                                      </p:cBhvr>
                                      <p:tavLst>
                                        <p:tav tm="0">
                                          <p:val>
                                            <p:fltVal val="0"/>
                                          </p:val>
                                        </p:tav>
                                        <p:tav tm="100000">
                                          <p:val>
                                            <p:strVal val="#ppt_w"/>
                                          </p:val>
                                        </p:tav>
                                      </p:tavLst>
                                    </p:anim>
                                    <p:anim calcmode="lin" valueType="num">
                                      <p:cBhvr>
                                        <p:cTn id="96" dur="500" fill="hold"/>
                                        <p:tgtEl>
                                          <p:spTgt spid="14"/>
                                        </p:tgtEl>
                                        <p:attrNameLst>
                                          <p:attrName>ppt_h</p:attrName>
                                        </p:attrNameLst>
                                      </p:cBhvr>
                                      <p:tavLst>
                                        <p:tav tm="0">
                                          <p:val>
                                            <p:fltVal val="0"/>
                                          </p:val>
                                        </p:tav>
                                        <p:tav tm="100000">
                                          <p:val>
                                            <p:strVal val="#ppt_h"/>
                                          </p:val>
                                        </p:tav>
                                      </p:tavLst>
                                    </p:anim>
                                    <p:animEffect transition="in" filter="fade">
                                      <p:cBhvr>
                                        <p:cTn id="97" dur="500"/>
                                        <p:tgtEl>
                                          <p:spTgt spid="14"/>
                                        </p:tgtEl>
                                      </p:cBhvr>
                                    </p:animEffect>
                                  </p:childTnLst>
                                </p:cTn>
                              </p:par>
                              <p:par>
                                <p:cTn id="98" presetID="53" presetClass="entr" presetSubtype="16" fill="hold" nodeType="withEffect">
                                  <p:stCondLst>
                                    <p:cond delay="0"/>
                                  </p:stCondLst>
                                  <p:childTnLst>
                                    <p:set>
                                      <p:cBhvr>
                                        <p:cTn id="99" dur="1" fill="hold">
                                          <p:stCondLst>
                                            <p:cond delay="0"/>
                                          </p:stCondLst>
                                        </p:cTn>
                                        <p:tgtEl>
                                          <p:spTgt spid="56"/>
                                        </p:tgtEl>
                                        <p:attrNameLst>
                                          <p:attrName>style.visibility</p:attrName>
                                        </p:attrNameLst>
                                      </p:cBhvr>
                                      <p:to>
                                        <p:strVal val="visible"/>
                                      </p:to>
                                    </p:set>
                                    <p:anim calcmode="lin" valueType="num">
                                      <p:cBhvr>
                                        <p:cTn id="100" dur="500" fill="hold"/>
                                        <p:tgtEl>
                                          <p:spTgt spid="56"/>
                                        </p:tgtEl>
                                        <p:attrNameLst>
                                          <p:attrName>ppt_w</p:attrName>
                                        </p:attrNameLst>
                                      </p:cBhvr>
                                      <p:tavLst>
                                        <p:tav tm="0">
                                          <p:val>
                                            <p:fltVal val="0"/>
                                          </p:val>
                                        </p:tav>
                                        <p:tav tm="100000">
                                          <p:val>
                                            <p:strVal val="#ppt_w"/>
                                          </p:val>
                                        </p:tav>
                                      </p:tavLst>
                                    </p:anim>
                                    <p:anim calcmode="lin" valueType="num">
                                      <p:cBhvr>
                                        <p:cTn id="101" dur="500" fill="hold"/>
                                        <p:tgtEl>
                                          <p:spTgt spid="56"/>
                                        </p:tgtEl>
                                        <p:attrNameLst>
                                          <p:attrName>ppt_h</p:attrName>
                                        </p:attrNameLst>
                                      </p:cBhvr>
                                      <p:tavLst>
                                        <p:tav tm="0">
                                          <p:val>
                                            <p:fltVal val="0"/>
                                          </p:val>
                                        </p:tav>
                                        <p:tav tm="100000">
                                          <p:val>
                                            <p:strVal val="#ppt_h"/>
                                          </p:val>
                                        </p:tav>
                                      </p:tavLst>
                                    </p:anim>
                                    <p:animEffect transition="in" filter="fade">
                                      <p:cBhvr>
                                        <p:cTn id="102"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6" grpId="0" animBg="1"/>
      <p:bldP spid="7" grpId="0" animBg="1"/>
      <p:bldP spid="8" grpId="0" animBg="1"/>
      <p:bldP spid="10" grpId="0" animBg="1"/>
      <p:bldP spid="16" grpId="0" animBg="1"/>
      <p:bldP spid="17" grpId="0" animBg="1"/>
      <p:bldP spid="41" grpId="0" animBg="1"/>
      <p:bldP spid="49" grpId="0" animBg="1"/>
      <p:bldP spid="14" grpId="0" animBg="1"/>
      <p:bldP spid="1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964791" y="282631"/>
            <a:ext cx="9144000" cy="7316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b="1" i="1" u="sng" dirty="0">
                <a:solidFill>
                  <a:schemeClr val="accent1">
                    <a:lumMod val="50000"/>
                  </a:schemeClr>
                </a:solidFill>
                <a:latin typeface="Calibri Light" panose="020F0302020204030204" pitchFamily="34" charset="0"/>
              </a:rPr>
              <a:t>100m resolution Framework </a:t>
            </a:r>
            <a:endParaRPr lang="en-US" sz="4000" b="1" i="1" u="sng" dirty="0">
              <a:solidFill>
                <a:schemeClr val="accent1">
                  <a:lumMod val="50000"/>
                </a:schemeClr>
              </a:solidFill>
            </a:endParaRPr>
          </a:p>
        </p:txBody>
      </p:sp>
      <p:sp>
        <p:nvSpPr>
          <p:cNvPr id="2" name="Rectangle: Rounded Corners 1">
            <a:extLst>
              <a:ext uri="{FF2B5EF4-FFF2-40B4-BE49-F238E27FC236}">
                <a16:creationId xmlns:a16="http://schemas.microsoft.com/office/drawing/2014/main" id="{D423FFAF-9CDC-ACC2-E90E-850A37957BAA}"/>
              </a:ext>
            </a:extLst>
          </p:cNvPr>
          <p:cNvSpPr/>
          <p:nvPr/>
        </p:nvSpPr>
        <p:spPr>
          <a:xfrm rot="16200000">
            <a:off x="2233057" y="2900285"/>
            <a:ext cx="4469944" cy="1206370"/>
          </a:xfrm>
          <a:prstGeom prst="round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rPr>
              <a:t>Data Resampling to </a:t>
            </a:r>
          </a:p>
          <a:p>
            <a:pPr algn="ctr"/>
            <a:r>
              <a:rPr lang="en-US" b="1">
                <a:solidFill>
                  <a:schemeClr val="tx1"/>
                </a:solidFill>
              </a:rPr>
              <a:t>4km Resolution</a:t>
            </a:r>
          </a:p>
        </p:txBody>
      </p:sp>
      <p:sp>
        <p:nvSpPr>
          <p:cNvPr id="3" name="Rectangle 2">
            <a:extLst>
              <a:ext uri="{FF2B5EF4-FFF2-40B4-BE49-F238E27FC236}">
                <a16:creationId xmlns:a16="http://schemas.microsoft.com/office/drawing/2014/main" id="{BBE374DC-2B4D-CC21-509C-1EE76C7459BF}"/>
              </a:ext>
            </a:extLst>
          </p:cNvPr>
          <p:cNvSpPr/>
          <p:nvPr/>
        </p:nvSpPr>
        <p:spPr>
          <a:xfrm>
            <a:off x="2265532" y="2022153"/>
            <a:ext cx="1206368" cy="475299"/>
          </a:xfrm>
          <a:prstGeom prst="rect">
            <a:avLst/>
          </a:prstGeom>
          <a:solidFill>
            <a:schemeClr val="bg1"/>
          </a:solidFill>
          <a:ln>
            <a:solidFill>
              <a:schemeClr val="accent2">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ERA5</a:t>
            </a:r>
          </a:p>
        </p:txBody>
      </p:sp>
      <p:sp>
        <p:nvSpPr>
          <p:cNvPr id="5" name="Oval 4">
            <a:extLst>
              <a:ext uri="{FF2B5EF4-FFF2-40B4-BE49-F238E27FC236}">
                <a16:creationId xmlns:a16="http://schemas.microsoft.com/office/drawing/2014/main" id="{9F7F57A7-442D-82AB-3AD9-521A308C82AF}"/>
              </a:ext>
            </a:extLst>
          </p:cNvPr>
          <p:cNvSpPr/>
          <p:nvPr/>
        </p:nvSpPr>
        <p:spPr>
          <a:xfrm>
            <a:off x="248576" y="2752725"/>
            <a:ext cx="1624012" cy="1038225"/>
          </a:xfrm>
          <a:prstGeom prst="ellipse">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rPr>
              <a:t>Data Query from CSW</a:t>
            </a:r>
          </a:p>
        </p:txBody>
      </p:sp>
      <p:sp>
        <p:nvSpPr>
          <p:cNvPr id="6" name="Rectangle 5">
            <a:extLst>
              <a:ext uri="{FF2B5EF4-FFF2-40B4-BE49-F238E27FC236}">
                <a16:creationId xmlns:a16="http://schemas.microsoft.com/office/drawing/2014/main" id="{D027ECB3-9E9A-490C-3B18-F9FAFF0F379D}"/>
              </a:ext>
            </a:extLst>
          </p:cNvPr>
          <p:cNvSpPr/>
          <p:nvPr/>
        </p:nvSpPr>
        <p:spPr>
          <a:xfrm>
            <a:off x="2265532" y="2687952"/>
            <a:ext cx="1206368" cy="475299"/>
          </a:xfrm>
          <a:prstGeom prst="rect">
            <a:avLst/>
          </a:prstGeom>
          <a:solidFill>
            <a:schemeClr val="bg1"/>
          </a:solidFill>
          <a:ln>
            <a:solidFill>
              <a:schemeClr val="accent2">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Elevation</a:t>
            </a:r>
          </a:p>
        </p:txBody>
      </p:sp>
      <p:sp>
        <p:nvSpPr>
          <p:cNvPr id="7" name="Rectangle 6">
            <a:extLst>
              <a:ext uri="{FF2B5EF4-FFF2-40B4-BE49-F238E27FC236}">
                <a16:creationId xmlns:a16="http://schemas.microsoft.com/office/drawing/2014/main" id="{42710935-B651-FC59-77DA-0FCAAAFDFECA}"/>
              </a:ext>
            </a:extLst>
          </p:cNvPr>
          <p:cNvSpPr/>
          <p:nvPr/>
        </p:nvSpPr>
        <p:spPr>
          <a:xfrm>
            <a:off x="2265532" y="3417270"/>
            <a:ext cx="1206368" cy="475299"/>
          </a:xfrm>
          <a:prstGeom prst="rect">
            <a:avLst/>
          </a:prstGeom>
          <a:solidFill>
            <a:schemeClr val="bg1"/>
          </a:solidFill>
          <a:ln>
            <a:solidFill>
              <a:schemeClr val="accent2">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TWC</a:t>
            </a:r>
          </a:p>
        </p:txBody>
      </p:sp>
      <p:sp>
        <p:nvSpPr>
          <p:cNvPr id="8" name="Rectangle 7">
            <a:extLst>
              <a:ext uri="{FF2B5EF4-FFF2-40B4-BE49-F238E27FC236}">
                <a16:creationId xmlns:a16="http://schemas.microsoft.com/office/drawing/2014/main" id="{A4B40D14-0A2C-A05B-A83A-19A0895929AA}"/>
              </a:ext>
            </a:extLst>
          </p:cNvPr>
          <p:cNvSpPr/>
          <p:nvPr/>
        </p:nvSpPr>
        <p:spPr>
          <a:xfrm>
            <a:off x="2265532" y="4116882"/>
            <a:ext cx="1206368" cy="475299"/>
          </a:xfrm>
          <a:prstGeom prst="rect">
            <a:avLst/>
          </a:prstGeom>
          <a:solidFill>
            <a:schemeClr val="bg1"/>
          </a:solidFill>
          <a:ln>
            <a:solidFill>
              <a:schemeClr val="accent2">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Soil250</a:t>
            </a:r>
          </a:p>
        </p:txBody>
      </p:sp>
      <p:sp>
        <p:nvSpPr>
          <p:cNvPr id="10" name="Cube 9">
            <a:extLst>
              <a:ext uri="{FF2B5EF4-FFF2-40B4-BE49-F238E27FC236}">
                <a16:creationId xmlns:a16="http://schemas.microsoft.com/office/drawing/2014/main" id="{2393CE26-9104-47DD-1444-9251A959AAF8}"/>
              </a:ext>
            </a:extLst>
          </p:cNvPr>
          <p:cNvSpPr/>
          <p:nvPr/>
        </p:nvSpPr>
        <p:spPr>
          <a:xfrm>
            <a:off x="5349583" y="2640568"/>
            <a:ext cx="1476375" cy="1291113"/>
          </a:xfrm>
          <a:prstGeom prst="cube">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i="1">
                <a:solidFill>
                  <a:schemeClr val="tx1"/>
                </a:solidFill>
              </a:rPr>
              <a:t>ML/DL Model</a:t>
            </a:r>
          </a:p>
        </p:txBody>
      </p:sp>
      <p:cxnSp>
        <p:nvCxnSpPr>
          <p:cNvPr id="12" name="Straight Arrow Connector 11">
            <a:extLst>
              <a:ext uri="{FF2B5EF4-FFF2-40B4-BE49-F238E27FC236}">
                <a16:creationId xmlns:a16="http://schemas.microsoft.com/office/drawing/2014/main" id="{3949C65D-F337-77F4-CBF2-3B5676CD78E1}"/>
              </a:ext>
            </a:extLst>
          </p:cNvPr>
          <p:cNvCxnSpPr>
            <a:cxnSpLocks/>
            <a:stCxn id="3" idx="3"/>
            <a:endCxn id="16" idx="2"/>
          </p:cNvCxnSpPr>
          <p:nvPr/>
        </p:nvCxnSpPr>
        <p:spPr>
          <a:xfrm flipV="1">
            <a:off x="3471900" y="1892737"/>
            <a:ext cx="1862138" cy="367066"/>
          </a:xfrm>
          <a:prstGeom prst="straightConnector1">
            <a:avLst/>
          </a:prstGeom>
          <a:ln w="12700">
            <a:solidFill>
              <a:schemeClr val="tx1">
                <a:lumMod val="75000"/>
                <a:lumOff val="25000"/>
              </a:schemeClr>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16" name="Rectangle: Top Corners One Rounded and One Snipped 15">
            <a:extLst>
              <a:ext uri="{FF2B5EF4-FFF2-40B4-BE49-F238E27FC236}">
                <a16:creationId xmlns:a16="http://schemas.microsoft.com/office/drawing/2014/main" id="{84F5F83C-35E6-5099-E1AF-3CD54D9B2E5D}"/>
              </a:ext>
            </a:extLst>
          </p:cNvPr>
          <p:cNvSpPr/>
          <p:nvPr/>
        </p:nvSpPr>
        <p:spPr>
          <a:xfrm>
            <a:off x="5334038" y="1606868"/>
            <a:ext cx="1476375" cy="571737"/>
          </a:xfrm>
          <a:prstGeom prst="snipRound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Input Variables</a:t>
            </a:r>
          </a:p>
        </p:txBody>
      </p:sp>
      <p:sp>
        <p:nvSpPr>
          <p:cNvPr id="17" name="Rectangle: Top Corners One Rounded and One Snipped 16">
            <a:extLst>
              <a:ext uri="{FF2B5EF4-FFF2-40B4-BE49-F238E27FC236}">
                <a16:creationId xmlns:a16="http://schemas.microsoft.com/office/drawing/2014/main" id="{312523D9-B3BC-1E8B-706E-D99E9EB5EB72}"/>
              </a:ext>
            </a:extLst>
          </p:cNvPr>
          <p:cNvSpPr/>
          <p:nvPr/>
        </p:nvSpPr>
        <p:spPr>
          <a:xfrm>
            <a:off x="5334038" y="4481692"/>
            <a:ext cx="1476375" cy="571737"/>
          </a:xfrm>
          <a:prstGeom prst="snipRound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Training Data</a:t>
            </a:r>
          </a:p>
        </p:txBody>
      </p:sp>
      <p:cxnSp>
        <p:nvCxnSpPr>
          <p:cNvPr id="19" name="Straight Arrow Connector 18">
            <a:extLst>
              <a:ext uri="{FF2B5EF4-FFF2-40B4-BE49-F238E27FC236}">
                <a16:creationId xmlns:a16="http://schemas.microsoft.com/office/drawing/2014/main" id="{EAEC5CB0-9F66-9866-7B24-3CB489200CF6}"/>
              </a:ext>
            </a:extLst>
          </p:cNvPr>
          <p:cNvCxnSpPr>
            <a:cxnSpLocks/>
            <a:stCxn id="6" idx="3"/>
            <a:endCxn id="16" idx="2"/>
          </p:cNvCxnSpPr>
          <p:nvPr/>
        </p:nvCxnSpPr>
        <p:spPr>
          <a:xfrm flipV="1">
            <a:off x="3471900" y="1892737"/>
            <a:ext cx="1862138" cy="1032865"/>
          </a:xfrm>
          <a:prstGeom prst="straightConnector1">
            <a:avLst/>
          </a:prstGeom>
          <a:ln w="12700">
            <a:solidFill>
              <a:schemeClr val="tx1">
                <a:lumMod val="75000"/>
                <a:lumOff val="25000"/>
              </a:schemeClr>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C9CE9F37-2325-294A-135B-F0550FAECF93}"/>
              </a:ext>
            </a:extLst>
          </p:cNvPr>
          <p:cNvCxnSpPr>
            <a:cxnSpLocks/>
            <a:stCxn id="7" idx="3"/>
            <a:endCxn id="17" idx="2"/>
          </p:cNvCxnSpPr>
          <p:nvPr/>
        </p:nvCxnSpPr>
        <p:spPr>
          <a:xfrm>
            <a:off x="3471900" y="3654920"/>
            <a:ext cx="1862138" cy="1112641"/>
          </a:xfrm>
          <a:prstGeom prst="straightConnector1">
            <a:avLst/>
          </a:prstGeom>
          <a:ln w="12700">
            <a:solidFill>
              <a:schemeClr val="tx1">
                <a:lumMod val="75000"/>
                <a:lumOff val="25000"/>
              </a:schemeClr>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9D846DE1-8546-CA57-885E-56A2C2534CCB}"/>
              </a:ext>
            </a:extLst>
          </p:cNvPr>
          <p:cNvCxnSpPr>
            <a:cxnSpLocks/>
            <a:stCxn id="16" idx="1"/>
          </p:cNvCxnSpPr>
          <p:nvPr/>
        </p:nvCxnSpPr>
        <p:spPr>
          <a:xfrm flipH="1">
            <a:off x="6072225" y="2178605"/>
            <a:ext cx="1" cy="60489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8C78C693-EAAC-EB89-E338-90AAFBB17839}"/>
              </a:ext>
            </a:extLst>
          </p:cNvPr>
          <p:cNvCxnSpPr>
            <a:cxnSpLocks/>
            <a:stCxn id="17" idx="3"/>
          </p:cNvCxnSpPr>
          <p:nvPr/>
        </p:nvCxnSpPr>
        <p:spPr>
          <a:xfrm flipV="1">
            <a:off x="6072226" y="3891439"/>
            <a:ext cx="0" cy="59025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54CB732F-EFAA-0062-81D8-400F002267C4}"/>
              </a:ext>
            </a:extLst>
          </p:cNvPr>
          <p:cNvCxnSpPr>
            <a:cxnSpLocks/>
            <a:stCxn id="10" idx="5"/>
            <a:endCxn id="41" idx="1"/>
          </p:cNvCxnSpPr>
          <p:nvPr/>
        </p:nvCxnSpPr>
        <p:spPr>
          <a:xfrm>
            <a:off x="6825958" y="3124735"/>
            <a:ext cx="655055" cy="54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1" name="Rectangle 40">
            <a:extLst>
              <a:ext uri="{FF2B5EF4-FFF2-40B4-BE49-F238E27FC236}">
                <a16:creationId xmlns:a16="http://schemas.microsoft.com/office/drawing/2014/main" id="{AF888FBF-A457-95EB-8F40-9876975F7B07}"/>
              </a:ext>
            </a:extLst>
          </p:cNvPr>
          <p:cNvSpPr/>
          <p:nvPr/>
        </p:nvSpPr>
        <p:spPr>
          <a:xfrm>
            <a:off x="7481013" y="2279396"/>
            <a:ext cx="1772723" cy="1691758"/>
          </a:xfrm>
          <a:prstGeom prst="rect">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4km resolution </a:t>
            </a:r>
          </a:p>
          <a:p>
            <a:pPr algn="ctr"/>
            <a:r>
              <a:rPr lang="en-US">
                <a:solidFill>
                  <a:schemeClr val="tx1"/>
                </a:solidFill>
              </a:rPr>
              <a:t>Model interpolated daily weather datasets </a:t>
            </a:r>
          </a:p>
        </p:txBody>
      </p:sp>
      <p:cxnSp>
        <p:nvCxnSpPr>
          <p:cNvPr id="46" name="Straight Arrow Connector 45">
            <a:extLst>
              <a:ext uri="{FF2B5EF4-FFF2-40B4-BE49-F238E27FC236}">
                <a16:creationId xmlns:a16="http://schemas.microsoft.com/office/drawing/2014/main" id="{B50C30AB-5F63-C383-1BCF-41748E23BE0A}"/>
              </a:ext>
            </a:extLst>
          </p:cNvPr>
          <p:cNvCxnSpPr>
            <a:cxnSpLocks/>
            <a:stCxn id="41" idx="3"/>
          </p:cNvCxnSpPr>
          <p:nvPr/>
        </p:nvCxnSpPr>
        <p:spPr>
          <a:xfrm flipV="1">
            <a:off x="9253736" y="3124735"/>
            <a:ext cx="910364" cy="540"/>
          </a:xfrm>
          <a:prstGeom prst="straightConnector1">
            <a:avLst/>
          </a:prstGeom>
          <a:ln w="12700">
            <a:solidFill>
              <a:srgbClr val="00B0F0"/>
            </a:solidFill>
            <a:prstDash val="lgDash"/>
            <a:tailEnd type="triangle"/>
          </a:ln>
        </p:spPr>
        <p:style>
          <a:lnRef idx="1">
            <a:schemeClr val="dk1"/>
          </a:lnRef>
          <a:fillRef idx="0">
            <a:schemeClr val="dk1"/>
          </a:fillRef>
          <a:effectRef idx="0">
            <a:schemeClr val="dk1"/>
          </a:effectRef>
          <a:fontRef idx="minor">
            <a:schemeClr val="tx1"/>
          </a:fontRef>
        </p:style>
      </p:cxnSp>
      <p:sp>
        <p:nvSpPr>
          <p:cNvPr id="49" name="Rectangle: Rounded Corners 48">
            <a:extLst>
              <a:ext uri="{FF2B5EF4-FFF2-40B4-BE49-F238E27FC236}">
                <a16:creationId xmlns:a16="http://schemas.microsoft.com/office/drawing/2014/main" id="{19C589D2-8479-4B0D-4A80-DEFC3E7C4CC5}"/>
              </a:ext>
            </a:extLst>
          </p:cNvPr>
          <p:cNvSpPr/>
          <p:nvPr/>
        </p:nvSpPr>
        <p:spPr>
          <a:xfrm rot="16200000">
            <a:off x="9562451" y="2417366"/>
            <a:ext cx="2559530" cy="1278850"/>
          </a:xfrm>
          <a:prstGeom prst="round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rPr>
              <a:t>Resample to 100m resolution</a:t>
            </a:r>
          </a:p>
        </p:txBody>
      </p:sp>
      <p:cxnSp>
        <p:nvCxnSpPr>
          <p:cNvPr id="56" name="Connector: Curved 55">
            <a:extLst>
              <a:ext uri="{FF2B5EF4-FFF2-40B4-BE49-F238E27FC236}">
                <a16:creationId xmlns:a16="http://schemas.microsoft.com/office/drawing/2014/main" id="{FE9C8553-0384-2641-7E80-E9CD677A1BB0}"/>
              </a:ext>
            </a:extLst>
          </p:cNvPr>
          <p:cNvCxnSpPr>
            <a:cxnSpLocks/>
            <a:stCxn id="8" idx="1"/>
          </p:cNvCxnSpPr>
          <p:nvPr/>
        </p:nvCxnSpPr>
        <p:spPr>
          <a:xfrm rot="10800000" flipH="1">
            <a:off x="2265531" y="4208804"/>
            <a:ext cx="7937255" cy="145728"/>
          </a:xfrm>
          <a:prstGeom prst="curvedConnector5">
            <a:avLst>
              <a:gd name="adj1" fmla="val -15240"/>
              <a:gd name="adj2" fmla="val -1189907"/>
              <a:gd name="adj3" fmla="val 87360"/>
            </a:avLst>
          </a:prstGeom>
          <a:ln w="9525">
            <a:solidFill>
              <a:srgbClr val="00B0F0"/>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7C59F5D8-CB92-52E7-C960-05BF652B3B6E}"/>
              </a:ext>
            </a:extLst>
          </p:cNvPr>
          <p:cNvCxnSpPr>
            <a:cxnSpLocks/>
            <a:stCxn id="5" idx="6"/>
          </p:cNvCxnSpPr>
          <p:nvPr/>
        </p:nvCxnSpPr>
        <p:spPr>
          <a:xfrm flipV="1">
            <a:off x="1872588" y="3271837"/>
            <a:ext cx="311337"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 name="Connector: Curved 10">
            <a:extLst>
              <a:ext uri="{FF2B5EF4-FFF2-40B4-BE49-F238E27FC236}">
                <a16:creationId xmlns:a16="http://schemas.microsoft.com/office/drawing/2014/main" id="{0D18F2EC-EA7D-193C-08EE-A31406043253}"/>
              </a:ext>
            </a:extLst>
          </p:cNvPr>
          <p:cNvCxnSpPr>
            <a:cxnSpLocks/>
            <a:stCxn id="6" idx="1"/>
            <a:endCxn id="49" idx="3"/>
          </p:cNvCxnSpPr>
          <p:nvPr/>
        </p:nvCxnSpPr>
        <p:spPr>
          <a:xfrm rot="10800000" flipH="1">
            <a:off x="2265532" y="1777026"/>
            <a:ext cx="8576684" cy="1148576"/>
          </a:xfrm>
          <a:prstGeom prst="curvedConnector4">
            <a:avLst>
              <a:gd name="adj1" fmla="val -2665"/>
              <a:gd name="adj2" fmla="val 163666"/>
            </a:avLst>
          </a:prstGeom>
          <a:ln w="9525">
            <a:solidFill>
              <a:srgbClr val="00B0F0"/>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8CD0F935-01B0-9D95-506D-764C60647B30}"/>
              </a:ext>
            </a:extLst>
          </p:cNvPr>
          <p:cNvSpPr/>
          <p:nvPr/>
        </p:nvSpPr>
        <p:spPr>
          <a:xfrm>
            <a:off x="2241066" y="4938120"/>
            <a:ext cx="1230834" cy="593249"/>
          </a:xfrm>
          <a:prstGeom prst="rect">
            <a:avLst/>
          </a:prstGeom>
          <a:solidFill>
            <a:schemeClr val="bg1"/>
          </a:solidFill>
          <a:ln>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Satellite LST</a:t>
            </a:r>
          </a:p>
        </p:txBody>
      </p:sp>
      <p:cxnSp>
        <p:nvCxnSpPr>
          <p:cNvPr id="35" name="Connector: Curved 34">
            <a:extLst>
              <a:ext uri="{FF2B5EF4-FFF2-40B4-BE49-F238E27FC236}">
                <a16:creationId xmlns:a16="http://schemas.microsoft.com/office/drawing/2014/main" id="{8E245135-CCF3-79B5-77FB-7A3A1A6DC4BD}"/>
              </a:ext>
            </a:extLst>
          </p:cNvPr>
          <p:cNvCxnSpPr>
            <a:cxnSpLocks/>
            <a:stCxn id="29" idx="2"/>
          </p:cNvCxnSpPr>
          <p:nvPr/>
        </p:nvCxnSpPr>
        <p:spPr>
          <a:xfrm rot="5400000" flipH="1" flipV="1">
            <a:off x="5715357" y="1082625"/>
            <a:ext cx="1589869" cy="7307619"/>
          </a:xfrm>
          <a:prstGeom prst="curvedConnector4">
            <a:avLst>
              <a:gd name="adj1" fmla="val -24564"/>
              <a:gd name="adj2" fmla="val 80801"/>
            </a:avLst>
          </a:prstGeom>
          <a:ln w="9525">
            <a:solidFill>
              <a:srgbClr val="00B0F0"/>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7E3A8081-2E8A-BDF2-6E2D-38657E14DCA2}"/>
              </a:ext>
            </a:extLst>
          </p:cNvPr>
          <p:cNvCxnSpPr>
            <a:cxnSpLocks/>
            <a:stCxn id="49" idx="1"/>
          </p:cNvCxnSpPr>
          <p:nvPr/>
        </p:nvCxnSpPr>
        <p:spPr>
          <a:xfrm>
            <a:off x="10842216" y="4336556"/>
            <a:ext cx="0" cy="71687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58" name="Rectangle 57">
            <a:extLst>
              <a:ext uri="{FF2B5EF4-FFF2-40B4-BE49-F238E27FC236}">
                <a16:creationId xmlns:a16="http://schemas.microsoft.com/office/drawing/2014/main" id="{FD8AE705-62F3-6720-69B6-2F00BA9FD743}"/>
              </a:ext>
            </a:extLst>
          </p:cNvPr>
          <p:cNvSpPr/>
          <p:nvPr/>
        </p:nvSpPr>
        <p:spPr>
          <a:xfrm>
            <a:off x="10108791" y="5129203"/>
            <a:ext cx="1466850" cy="902195"/>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ARD at </a:t>
            </a:r>
            <a:r>
              <a:rPr lang="en-US" b="1">
                <a:solidFill>
                  <a:schemeClr val="tx1"/>
                </a:solidFill>
              </a:rPr>
              <a:t>100m </a:t>
            </a:r>
            <a:r>
              <a:rPr lang="en-US">
                <a:solidFill>
                  <a:schemeClr val="tx1"/>
                </a:solidFill>
              </a:rPr>
              <a:t>Resolution</a:t>
            </a:r>
          </a:p>
        </p:txBody>
      </p:sp>
      <p:sp>
        <p:nvSpPr>
          <p:cNvPr id="4" name="Slide Number Placeholder 3">
            <a:extLst>
              <a:ext uri="{FF2B5EF4-FFF2-40B4-BE49-F238E27FC236}">
                <a16:creationId xmlns:a16="http://schemas.microsoft.com/office/drawing/2014/main" id="{D043F8F3-BE8A-7F42-F82A-E7E5540DE677}"/>
              </a:ext>
            </a:extLst>
          </p:cNvPr>
          <p:cNvSpPr>
            <a:spLocks noGrp="1"/>
          </p:cNvSpPr>
          <p:nvPr>
            <p:ph type="sldNum" sz="quarter" idx="12"/>
          </p:nvPr>
        </p:nvSpPr>
        <p:spPr/>
        <p:txBody>
          <a:bodyPr/>
          <a:lstStyle/>
          <a:p>
            <a:fld id="{EEAD9179-7A6B-4268-BEB2-F3B8EB06115B}" type="slidenum">
              <a:rPr lang="en-US" noProof="0" smtClean="0"/>
              <a:t>15</a:t>
            </a:fld>
            <a:endParaRPr lang="en-US" noProof="0"/>
          </a:p>
        </p:txBody>
      </p:sp>
      <p:sp>
        <p:nvSpPr>
          <p:cNvPr id="13" name="TextBox 12">
            <a:extLst>
              <a:ext uri="{FF2B5EF4-FFF2-40B4-BE49-F238E27FC236}">
                <a16:creationId xmlns:a16="http://schemas.microsoft.com/office/drawing/2014/main" id="{137E2CE9-EBB9-47F2-D448-6F87B80F8B98}"/>
              </a:ext>
            </a:extLst>
          </p:cNvPr>
          <p:cNvSpPr txBox="1"/>
          <p:nvPr/>
        </p:nvSpPr>
        <p:spPr>
          <a:xfrm>
            <a:off x="457200" y="6191497"/>
            <a:ext cx="10509382" cy="369332"/>
          </a:xfrm>
          <a:prstGeom prst="rect">
            <a:avLst/>
          </a:prstGeom>
          <a:noFill/>
        </p:spPr>
        <p:txBody>
          <a:bodyPr wrap="square" rtlCol="0">
            <a:spAutoFit/>
          </a:bodyPr>
          <a:lstStyle/>
          <a:p>
            <a:pPr marL="285750" indent="-285750">
              <a:buFont typeface="Wingdings" panose="05000000000000000000" pitchFamily="2" charset="2"/>
              <a:buChar char="Ø"/>
            </a:pPr>
            <a:r>
              <a:rPr lang="en-US"/>
              <a:t>100m resolution as the target resolution based of satellite LST’s spatial resolution. </a:t>
            </a:r>
          </a:p>
        </p:txBody>
      </p:sp>
    </p:spTree>
    <p:extLst>
      <p:ext uri="{BB962C8B-B14F-4D97-AF65-F5344CB8AC3E}">
        <p14:creationId xmlns:p14="http://schemas.microsoft.com/office/powerpoint/2010/main" val="30282121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500"/>
                                  </p:stCondLst>
                                  <p:childTnLst>
                                    <p:set>
                                      <p:cBhvr>
                                        <p:cTn id="6" dur="1" fill="hold">
                                          <p:stCondLst>
                                            <p:cond delay="0"/>
                                          </p:stCondLst>
                                        </p:cTn>
                                        <p:tgtEl>
                                          <p:spTgt spid="29"/>
                                        </p:tgtEl>
                                        <p:attrNameLst>
                                          <p:attrName>style.visibility</p:attrName>
                                        </p:attrNameLst>
                                      </p:cBhvr>
                                      <p:to>
                                        <p:strVal val="visible"/>
                                      </p:to>
                                    </p:set>
                                    <p:anim calcmode="lin" valueType="num">
                                      <p:cBhvr>
                                        <p:cTn id="7" dur="500" fill="hold"/>
                                        <p:tgtEl>
                                          <p:spTgt spid="29"/>
                                        </p:tgtEl>
                                        <p:attrNameLst>
                                          <p:attrName>ppt_w</p:attrName>
                                        </p:attrNameLst>
                                      </p:cBhvr>
                                      <p:tavLst>
                                        <p:tav tm="0">
                                          <p:val>
                                            <p:fltVal val="0"/>
                                          </p:val>
                                        </p:tav>
                                        <p:tav tm="100000">
                                          <p:val>
                                            <p:strVal val="#ppt_w"/>
                                          </p:val>
                                        </p:tav>
                                      </p:tavLst>
                                    </p:anim>
                                    <p:anim calcmode="lin" valueType="num">
                                      <p:cBhvr>
                                        <p:cTn id="8" dur="500" fill="hold"/>
                                        <p:tgtEl>
                                          <p:spTgt spid="29"/>
                                        </p:tgtEl>
                                        <p:attrNameLst>
                                          <p:attrName>ppt_h</p:attrName>
                                        </p:attrNameLst>
                                      </p:cBhvr>
                                      <p:tavLst>
                                        <p:tav tm="0">
                                          <p:val>
                                            <p:fltVal val="0"/>
                                          </p:val>
                                        </p:tav>
                                        <p:tav tm="100000">
                                          <p:val>
                                            <p:strVal val="#ppt_h"/>
                                          </p:val>
                                        </p:tav>
                                      </p:tavLst>
                                    </p:anim>
                                    <p:animEffect transition="in" filter="fade">
                                      <p:cBhvr>
                                        <p:cTn id="9" dur="500"/>
                                        <p:tgtEl>
                                          <p:spTgt spid="29"/>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4" fill="hold" nodeType="clickEffect">
                                  <p:stCondLst>
                                    <p:cond delay="0"/>
                                  </p:stCondLst>
                                  <p:childTnLst>
                                    <p:set>
                                      <p:cBhvr>
                                        <p:cTn id="13" dur="1" fill="hold">
                                          <p:stCondLst>
                                            <p:cond delay="0"/>
                                          </p:stCondLst>
                                        </p:cTn>
                                        <p:tgtEl>
                                          <p:spTgt spid="35"/>
                                        </p:tgtEl>
                                        <p:attrNameLst>
                                          <p:attrName>style.visibility</p:attrName>
                                        </p:attrNameLst>
                                      </p:cBhvr>
                                      <p:to>
                                        <p:strVal val="visible"/>
                                      </p:to>
                                    </p:set>
                                    <p:animEffect transition="in" filter="wipe(down)">
                                      <p:cBhvr>
                                        <p:cTn id="14" dur="500"/>
                                        <p:tgtEl>
                                          <p:spTgt spid="35"/>
                                        </p:tgtEl>
                                      </p:cBhvr>
                                    </p:animEffect>
                                  </p:childTnLst>
                                </p:cTn>
                              </p:par>
                              <p:par>
                                <p:cTn id="15" presetID="22" presetClass="entr" presetSubtype="4" fill="hold" nodeType="withEffect">
                                  <p:stCondLst>
                                    <p:cond delay="0"/>
                                  </p:stCondLst>
                                  <p:childTnLst>
                                    <p:set>
                                      <p:cBhvr>
                                        <p:cTn id="16" dur="1" fill="hold">
                                          <p:stCondLst>
                                            <p:cond delay="0"/>
                                          </p:stCondLst>
                                        </p:cTn>
                                        <p:tgtEl>
                                          <p:spTgt spid="46"/>
                                        </p:tgtEl>
                                        <p:attrNameLst>
                                          <p:attrName>style.visibility</p:attrName>
                                        </p:attrNameLst>
                                      </p:cBhvr>
                                      <p:to>
                                        <p:strVal val="visible"/>
                                      </p:to>
                                    </p:set>
                                    <p:animEffect transition="in" filter="wipe(down)">
                                      <p:cBhvr>
                                        <p:cTn id="17" dur="500"/>
                                        <p:tgtEl>
                                          <p:spTgt spid="46"/>
                                        </p:tgtEl>
                                      </p:cBhvr>
                                    </p:animEffect>
                                  </p:childTnLst>
                                </p:cTn>
                              </p:par>
                              <p:par>
                                <p:cTn id="18" presetID="22" presetClass="entr" presetSubtype="4" fill="hold" grpId="0" nodeType="withEffect">
                                  <p:stCondLst>
                                    <p:cond delay="0"/>
                                  </p:stCondLst>
                                  <p:childTnLst>
                                    <p:set>
                                      <p:cBhvr>
                                        <p:cTn id="19" dur="1" fill="hold">
                                          <p:stCondLst>
                                            <p:cond delay="0"/>
                                          </p:stCondLst>
                                        </p:cTn>
                                        <p:tgtEl>
                                          <p:spTgt spid="49"/>
                                        </p:tgtEl>
                                        <p:attrNameLst>
                                          <p:attrName>style.visibility</p:attrName>
                                        </p:attrNameLst>
                                      </p:cBhvr>
                                      <p:to>
                                        <p:strVal val="visible"/>
                                      </p:to>
                                    </p:set>
                                    <p:animEffect transition="in" filter="wipe(down)">
                                      <p:cBhvr>
                                        <p:cTn id="20" dur="500"/>
                                        <p:tgtEl>
                                          <p:spTgt spid="49"/>
                                        </p:tgtEl>
                                      </p:cBhvr>
                                    </p:animEffect>
                                  </p:childTnLst>
                                </p:cTn>
                              </p:par>
                              <p:par>
                                <p:cTn id="21" presetID="22" presetClass="entr" presetSubtype="4" fill="hold" nodeType="with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wipe(down)">
                                      <p:cBhvr>
                                        <p:cTn id="23" dur="500"/>
                                        <p:tgtEl>
                                          <p:spTgt spid="11"/>
                                        </p:tgtEl>
                                      </p:cBhvr>
                                    </p:animEffect>
                                  </p:childTnLst>
                                </p:cTn>
                              </p:par>
                              <p:par>
                                <p:cTn id="24" presetID="22" presetClass="entr" presetSubtype="4" fill="hold" nodeType="withEffect">
                                  <p:stCondLst>
                                    <p:cond delay="0"/>
                                  </p:stCondLst>
                                  <p:childTnLst>
                                    <p:set>
                                      <p:cBhvr>
                                        <p:cTn id="25" dur="1" fill="hold">
                                          <p:stCondLst>
                                            <p:cond delay="0"/>
                                          </p:stCondLst>
                                        </p:cTn>
                                        <p:tgtEl>
                                          <p:spTgt spid="56"/>
                                        </p:tgtEl>
                                        <p:attrNameLst>
                                          <p:attrName>style.visibility</p:attrName>
                                        </p:attrNameLst>
                                      </p:cBhvr>
                                      <p:to>
                                        <p:strVal val="visible"/>
                                      </p:to>
                                    </p:set>
                                    <p:animEffect transition="in" filter="wipe(down)">
                                      <p:cBhvr>
                                        <p:cTn id="26" dur="500"/>
                                        <p:tgtEl>
                                          <p:spTgt spid="56"/>
                                        </p:tgtEl>
                                      </p:cBhvr>
                                    </p:animEffect>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nodeType="clickEffect">
                                  <p:stCondLst>
                                    <p:cond delay="0"/>
                                  </p:stCondLst>
                                  <p:childTnLst>
                                    <p:set>
                                      <p:cBhvr>
                                        <p:cTn id="30" dur="1" fill="hold">
                                          <p:stCondLst>
                                            <p:cond delay="0"/>
                                          </p:stCondLst>
                                        </p:cTn>
                                        <p:tgtEl>
                                          <p:spTgt spid="54"/>
                                        </p:tgtEl>
                                        <p:attrNameLst>
                                          <p:attrName>style.visibility</p:attrName>
                                        </p:attrNameLst>
                                      </p:cBhvr>
                                      <p:to>
                                        <p:strVal val="visible"/>
                                      </p:to>
                                    </p:set>
                                    <p:animEffect transition="in" filter="fade">
                                      <p:cBhvr>
                                        <p:cTn id="31" dur="1000"/>
                                        <p:tgtEl>
                                          <p:spTgt spid="54"/>
                                        </p:tgtEl>
                                      </p:cBhvr>
                                    </p:animEffect>
                                    <p:anim calcmode="lin" valueType="num">
                                      <p:cBhvr>
                                        <p:cTn id="32" dur="1000" fill="hold"/>
                                        <p:tgtEl>
                                          <p:spTgt spid="54"/>
                                        </p:tgtEl>
                                        <p:attrNameLst>
                                          <p:attrName>ppt_x</p:attrName>
                                        </p:attrNameLst>
                                      </p:cBhvr>
                                      <p:tavLst>
                                        <p:tav tm="0">
                                          <p:val>
                                            <p:strVal val="#ppt_x"/>
                                          </p:val>
                                        </p:tav>
                                        <p:tav tm="100000">
                                          <p:val>
                                            <p:strVal val="#ppt_x"/>
                                          </p:val>
                                        </p:tav>
                                      </p:tavLst>
                                    </p:anim>
                                    <p:anim calcmode="lin" valueType="num">
                                      <p:cBhvr>
                                        <p:cTn id="33" dur="1000" fill="hold"/>
                                        <p:tgtEl>
                                          <p:spTgt spid="54"/>
                                        </p:tgtEl>
                                        <p:attrNameLst>
                                          <p:attrName>ppt_y</p:attrName>
                                        </p:attrNameLst>
                                      </p:cBhvr>
                                      <p:tavLst>
                                        <p:tav tm="0">
                                          <p:val>
                                            <p:strVal val="#ppt_y+.1"/>
                                          </p:val>
                                        </p:tav>
                                        <p:tav tm="100000">
                                          <p:val>
                                            <p:strVal val="#ppt_y"/>
                                          </p:val>
                                        </p:tav>
                                      </p:tavLst>
                                    </p:anim>
                                  </p:childTnLst>
                                </p:cTn>
                              </p:par>
                              <p:par>
                                <p:cTn id="34" presetID="42" presetClass="entr" presetSubtype="0" fill="hold" grpId="0" nodeType="withEffect">
                                  <p:stCondLst>
                                    <p:cond delay="0"/>
                                  </p:stCondLst>
                                  <p:childTnLst>
                                    <p:set>
                                      <p:cBhvr>
                                        <p:cTn id="35" dur="1" fill="hold">
                                          <p:stCondLst>
                                            <p:cond delay="0"/>
                                          </p:stCondLst>
                                        </p:cTn>
                                        <p:tgtEl>
                                          <p:spTgt spid="58"/>
                                        </p:tgtEl>
                                        <p:attrNameLst>
                                          <p:attrName>style.visibility</p:attrName>
                                        </p:attrNameLst>
                                      </p:cBhvr>
                                      <p:to>
                                        <p:strVal val="visible"/>
                                      </p:to>
                                    </p:set>
                                    <p:animEffect transition="in" filter="fade">
                                      <p:cBhvr>
                                        <p:cTn id="36" dur="1000"/>
                                        <p:tgtEl>
                                          <p:spTgt spid="58"/>
                                        </p:tgtEl>
                                      </p:cBhvr>
                                    </p:animEffect>
                                    <p:anim calcmode="lin" valueType="num">
                                      <p:cBhvr>
                                        <p:cTn id="37" dur="1000" fill="hold"/>
                                        <p:tgtEl>
                                          <p:spTgt spid="58"/>
                                        </p:tgtEl>
                                        <p:attrNameLst>
                                          <p:attrName>ppt_x</p:attrName>
                                        </p:attrNameLst>
                                      </p:cBhvr>
                                      <p:tavLst>
                                        <p:tav tm="0">
                                          <p:val>
                                            <p:strVal val="#ppt_x"/>
                                          </p:val>
                                        </p:tav>
                                        <p:tav tm="100000">
                                          <p:val>
                                            <p:strVal val="#ppt_x"/>
                                          </p:val>
                                        </p:tav>
                                      </p:tavLst>
                                    </p:anim>
                                    <p:anim calcmode="lin" valueType="num">
                                      <p:cBhvr>
                                        <p:cTn id="38" dur="1000" fill="hold"/>
                                        <p:tgtEl>
                                          <p:spTgt spid="5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29" grpId="0" animBg="1"/>
      <p:bldP spid="58"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1290209" y="2153802"/>
            <a:ext cx="9611581" cy="1766198"/>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spcAft>
                <a:spcPts val="600"/>
              </a:spcAft>
            </a:pPr>
            <a:r>
              <a:rPr lang="en-US" sz="5400" b="1" i="1" kern="1200" dirty="0">
                <a:solidFill>
                  <a:srgbClr val="10384F"/>
                </a:solidFill>
                <a:latin typeface="+mj-lt"/>
                <a:ea typeface="+mj-ea"/>
                <a:cs typeface="+mj-cs"/>
              </a:rPr>
              <a:t>3. ML/DL Model Results and Discussion</a:t>
            </a:r>
          </a:p>
        </p:txBody>
      </p:sp>
      <p:sp>
        <p:nvSpPr>
          <p:cNvPr id="2" name="Slide Number Placeholder 1">
            <a:extLst>
              <a:ext uri="{FF2B5EF4-FFF2-40B4-BE49-F238E27FC236}">
                <a16:creationId xmlns:a16="http://schemas.microsoft.com/office/drawing/2014/main" id="{A47F22BB-216E-F8C1-A74B-A69867F0B962}"/>
              </a:ext>
            </a:extLst>
          </p:cNvPr>
          <p:cNvSpPr>
            <a:spLocks noGrp="1"/>
          </p:cNvSpPr>
          <p:nvPr>
            <p:ph type="sldNum" sz="quarter" idx="12"/>
          </p:nvPr>
        </p:nvSpPr>
        <p:spPr/>
        <p:txBody>
          <a:bodyPr/>
          <a:lstStyle/>
          <a:p>
            <a:fld id="{EEAD9179-7A6B-4268-BEB2-F3B8EB06115B}" type="slidenum">
              <a:rPr lang="en-US" noProof="0" smtClean="0"/>
              <a:t>16</a:t>
            </a:fld>
            <a:endParaRPr lang="en-US" noProof="0"/>
          </a:p>
        </p:txBody>
      </p:sp>
      <p:cxnSp>
        <p:nvCxnSpPr>
          <p:cNvPr id="3" name="Straight Connector 2">
            <a:extLst>
              <a:ext uri="{FF2B5EF4-FFF2-40B4-BE49-F238E27FC236}">
                <a16:creationId xmlns:a16="http://schemas.microsoft.com/office/drawing/2014/main" id="{82A02A7D-C378-92E6-11FA-AEC42BEFAE49}"/>
              </a:ext>
            </a:extLst>
          </p:cNvPr>
          <p:cNvCxnSpPr/>
          <p:nvPr/>
        </p:nvCxnSpPr>
        <p:spPr>
          <a:xfrm>
            <a:off x="933061" y="6307494"/>
            <a:ext cx="10487608" cy="0"/>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60437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1060582" y="443283"/>
            <a:ext cx="9144000" cy="7316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i="1" u="sng">
                <a:solidFill>
                  <a:schemeClr val="accent1">
                    <a:lumMod val="50000"/>
                  </a:schemeClr>
                </a:solidFill>
                <a:latin typeface="Calibri Light" panose="020F0302020204030204" pitchFamily="34" charset="0"/>
              </a:rPr>
              <a:t>ML/DL Models: Results Summary</a:t>
            </a:r>
            <a:endParaRPr lang="en-US" sz="4000" i="1" u="sng">
              <a:solidFill>
                <a:schemeClr val="accent1">
                  <a:lumMod val="50000"/>
                </a:schemeClr>
              </a:solidFill>
            </a:endParaRPr>
          </a:p>
        </p:txBody>
      </p:sp>
      <p:sp>
        <p:nvSpPr>
          <p:cNvPr id="2" name="Slide Number Placeholder 1">
            <a:extLst>
              <a:ext uri="{FF2B5EF4-FFF2-40B4-BE49-F238E27FC236}">
                <a16:creationId xmlns:a16="http://schemas.microsoft.com/office/drawing/2014/main" id="{01022AA2-4ED6-33F1-DCC7-83E7BA387B4B}"/>
              </a:ext>
            </a:extLst>
          </p:cNvPr>
          <p:cNvSpPr>
            <a:spLocks noGrp="1"/>
          </p:cNvSpPr>
          <p:nvPr>
            <p:ph type="sldNum" sz="quarter" idx="12"/>
          </p:nvPr>
        </p:nvSpPr>
        <p:spPr/>
        <p:txBody>
          <a:bodyPr/>
          <a:lstStyle/>
          <a:p>
            <a:fld id="{EEAD9179-7A6B-4268-BEB2-F3B8EB06115B}" type="slidenum">
              <a:rPr lang="en-US" noProof="0" smtClean="0"/>
              <a:t>17</a:t>
            </a:fld>
            <a:endParaRPr lang="en-US" noProof="0"/>
          </a:p>
        </p:txBody>
      </p:sp>
      <p:graphicFrame>
        <p:nvGraphicFramePr>
          <p:cNvPr id="4" name="Table 4">
            <a:extLst>
              <a:ext uri="{FF2B5EF4-FFF2-40B4-BE49-F238E27FC236}">
                <a16:creationId xmlns:a16="http://schemas.microsoft.com/office/drawing/2014/main" id="{53C504F3-4F33-42DC-8E5D-BAF1733E2B0A}"/>
              </a:ext>
            </a:extLst>
          </p:cNvPr>
          <p:cNvGraphicFramePr>
            <a:graphicFrameLocks noGrp="1"/>
          </p:cNvGraphicFramePr>
          <p:nvPr>
            <p:extLst>
              <p:ext uri="{D42A27DB-BD31-4B8C-83A1-F6EECF244321}">
                <p14:modId xmlns:p14="http://schemas.microsoft.com/office/powerpoint/2010/main" val="216489217"/>
              </p:ext>
            </p:extLst>
          </p:nvPr>
        </p:nvGraphicFramePr>
        <p:xfrm>
          <a:off x="1577169" y="2839941"/>
          <a:ext cx="9167784" cy="3568209"/>
        </p:xfrm>
        <a:graphic>
          <a:graphicData uri="http://schemas.openxmlformats.org/drawingml/2006/table">
            <a:tbl>
              <a:tblPr firstRow="1" bandRow="1">
                <a:tableStyleId>{F5AB1C69-6EDB-4FF4-983F-18BD219EF322}</a:tableStyleId>
              </a:tblPr>
              <a:tblGrid>
                <a:gridCol w="2291946">
                  <a:extLst>
                    <a:ext uri="{9D8B030D-6E8A-4147-A177-3AD203B41FA5}">
                      <a16:colId xmlns:a16="http://schemas.microsoft.com/office/drawing/2014/main" val="3432048767"/>
                    </a:ext>
                  </a:extLst>
                </a:gridCol>
                <a:gridCol w="2291946">
                  <a:extLst>
                    <a:ext uri="{9D8B030D-6E8A-4147-A177-3AD203B41FA5}">
                      <a16:colId xmlns:a16="http://schemas.microsoft.com/office/drawing/2014/main" val="3230257318"/>
                    </a:ext>
                  </a:extLst>
                </a:gridCol>
                <a:gridCol w="2291946">
                  <a:extLst>
                    <a:ext uri="{9D8B030D-6E8A-4147-A177-3AD203B41FA5}">
                      <a16:colId xmlns:a16="http://schemas.microsoft.com/office/drawing/2014/main" val="877166648"/>
                    </a:ext>
                  </a:extLst>
                </a:gridCol>
                <a:gridCol w="2291946">
                  <a:extLst>
                    <a:ext uri="{9D8B030D-6E8A-4147-A177-3AD203B41FA5}">
                      <a16:colId xmlns:a16="http://schemas.microsoft.com/office/drawing/2014/main" val="3786900033"/>
                    </a:ext>
                  </a:extLst>
                </a:gridCol>
              </a:tblGrid>
              <a:tr h="637904">
                <a:tc>
                  <a:txBody>
                    <a:bodyPr/>
                    <a:lstStyle/>
                    <a:p>
                      <a:pPr algn="ctr"/>
                      <a:r>
                        <a:rPr lang="en-US" sz="1600">
                          <a:solidFill>
                            <a:schemeClr val="tx1"/>
                          </a:solidFill>
                        </a:rPr>
                        <a:t>Variable</a:t>
                      </a:r>
                    </a:p>
                  </a:txBody>
                  <a:tcPr anchor="ctr"/>
                </a:tc>
                <a:tc>
                  <a:txBody>
                    <a:bodyPr/>
                    <a:lstStyle/>
                    <a:p>
                      <a:pPr algn="ctr"/>
                      <a:r>
                        <a:rPr lang="en-US" sz="1600">
                          <a:solidFill>
                            <a:schemeClr val="tx1"/>
                          </a:solidFill>
                        </a:rPr>
                        <a:t>R</a:t>
                      </a:r>
                      <a:r>
                        <a:rPr lang="en-US" sz="1600" baseline="30000">
                          <a:solidFill>
                            <a:schemeClr val="tx1"/>
                          </a:solidFill>
                        </a:rPr>
                        <a:t>2</a:t>
                      </a:r>
                      <a:r>
                        <a:rPr lang="en-US" sz="1600">
                          <a:solidFill>
                            <a:schemeClr val="tx1"/>
                          </a:solidFill>
                        </a:rPr>
                        <a:t> without Model</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rgbClr val="7030A0"/>
                          </a:solidFill>
                        </a:rPr>
                        <a:t>R</a:t>
                      </a:r>
                      <a:r>
                        <a:rPr lang="en-US" sz="1600" baseline="30000">
                          <a:solidFill>
                            <a:srgbClr val="7030A0"/>
                          </a:solidFill>
                        </a:rPr>
                        <a:t>2</a:t>
                      </a:r>
                      <a:r>
                        <a:rPr lang="en-US" sz="1600">
                          <a:solidFill>
                            <a:srgbClr val="7030A0"/>
                          </a:solidFill>
                        </a:rPr>
                        <a:t> with trained Model</a:t>
                      </a:r>
                    </a:p>
                    <a:p>
                      <a:pPr algn="ctr"/>
                      <a:r>
                        <a:rPr lang="en-US" sz="1600">
                          <a:solidFill>
                            <a:srgbClr val="7030A0"/>
                          </a:solidFill>
                        </a:rPr>
                        <a:t>(Train Set)</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accent2">
                              <a:lumMod val="75000"/>
                            </a:schemeClr>
                          </a:solidFill>
                        </a:rPr>
                        <a:t>R</a:t>
                      </a:r>
                      <a:r>
                        <a:rPr lang="en-US" sz="1600" baseline="30000">
                          <a:solidFill>
                            <a:schemeClr val="accent2">
                              <a:lumMod val="75000"/>
                            </a:schemeClr>
                          </a:solidFill>
                        </a:rPr>
                        <a:t>2</a:t>
                      </a:r>
                      <a:r>
                        <a:rPr lang="en-US" sz="1600">
                          <a:solidFill>
                            <a:schemeClr val="accent2">
                              <a:lumMod val="75000"/>
                            </a:schemeClr>
                          </a:solidFill>
                        </a:rPr>
                        <a:t> with trained Model</a:t>
                      </a:r>
                    </a:p>
                    <a:p>
                      <a:pPr algn="ctr"/>
                      <a:r>
                        <a:rPr lang="en-US" sz="1600">
                          <a:solidFill>
                            <a:schemeClr val="accent2">
                              <a:lumMod val="75000"/>
                            </a:schemeClr>
                          </a:solidFill>
                        </a:rPr>
                        <a:t>(Test Set)</a:t>
                      </a:r>
                    </a:p>
                  </a:txBody>
                  <a:tcPr anchor="ctr"/>
                </a:tc>
                <a:extLst>
                  <a:ext uri="{0D108BD9-81ED-4DB2-BD59-A6C34878D82A}">
                    <a16:rowId xmlns:a16="http://schemas.microsoft.com/office/drawing/2014/main" val="619344666"/>
                  </a:ext>
                </a:extLst>
              </a:tr>
              <a:tr h="470237">
                <a:tc>
                  <a:txBody>
                    <a:bodyPr/>
                    <a:lstStyle/>
                    <a:p>
                      <a:pPr algn="ctr"/>
                      <a:r>
                        <a:rPr lang="en-US" sz="1600">
                          <a:solidFill>
                            <a:schemeClr val="tx1"/>
                          </a:solidFill>
                        </a:rPr>
                        <a:t>Max Temperature</a:t>
                      </a:r>
                    </a:p>
                  </a:txBody>
                  <a:tcPr anchor="ctr"/>
                </a:tc>
                <a:tc>
                  <a:txBody>
                    <a:bodyPr/>
                    <a:lstStyle/>
                    <a:p>
                      <a:pPr algn="ctr"/>
                      <a:r>
                        <a:rPr lang="en-US" sz="1600">
                          <a:solidFill>
                            <a:schemeClr val="tx1"/>
                          </a:solidFill>
                        </a:rPr>
                        <a:t>0.968</a:t>
                      </a:r>
                    </a:p>
                  </a:txBody>
                  <a:tcPr anchor="ctr"/>
                </a:tc>
                <a:tc>
                  <a:txBody>
                    <a:bodyPr/>
                    <a:lstStyle/>
                    <a:p>
                      <a:pPr algn="ctr"/>
                      <a:r>
                        <a:rPr lang="en-US" sz="1600">
                          <a:solidFill>
                            <a:srgbClr val="7030A0"/>
                          </a:solidFill>
                        </a:rPr>
                        <a:t>0.989</a:t>
                      </a:r>
                    </a:p>
                  </a:txBody>
                  <a:tcPr anchor="ctr"/>
                </a:tc>
                <a:tc>
                  <a:txBody>
                    <a:bodyPr/>
                    <a:lstStyle/>
                    <a:p>
                      <a:pPr algn="ctr"/>
                      <a:r>
                        <a:rPr lang="en-US" sz="1600">
                          <a:solidFill>
                            <a:schemeClr val="accent2">
                              <a:lumMod val="75000"/>
                            </a:schemeClr>
                          </a:solidFill>
                        </a:rPr>
                        <a:t>0.987</a:t>
                      </a:r>
                    </a:p>
                  </a:txBody>
                  <a:tcPr anchor="ctr"/>
                </a:tc>
                <a:extLst>
                  <a:ext uri="{0D108BD9-81ED-4DB2-BD59-A6C34878D82A}">
                    <a16:rowId xmlns:a16="http://schemas.microsoft.com/office/drawing/2014/main" val="887006705"/>
                  </a:ext>
                </a:extLst>
              </a:tr>
              <a:tr h="470237">
                <a:tc>
                  <a:txBody>
                    <a:bodyPr/>
                    <a:lstStyle/>
                    <a:p>
                      <a:pPr algn="ctr"/>
                      <a:r>
                        <a:rPr lang="en-US" sz="1600">
                          <a:solidFill>
                            <a:schemeClr val="tx1"/>
                          </a:solidFill>
                        </a:rPr>
                        <a:t>Min Temperature</a:t>
                      </a:r>
                    </a:p>
                  </a:txBody>
                  <a:tcPr anchor="ctr"/>
                </a:tc>
                <a:tc>
                  <a:txBody>
                    <a:bodyPr/>
                    <a:lstStyle/>
                    <a:p>
                      <a:pPr algn="ctr"/>
                      <a:r>
                        <a:rPr lang="en-US" sz="1600">
                          <a:solidFill>
                            <a:schemeClr val="tx1"/>
                          </a:solidFill>
                        </a:rPr>
                        <a:t>0.813</a:t>
                      </a:r>
                    </a:p>
                  </a:txBody>
                  <a:tcPr anchor="ctr"/>
                </a:tc>
                <a:tc>
                  <a:txBody>
                    <a:bodyPr/>
                    <a:lstStyle/>
                    <a:p>
                      <a:pPr algn="ctr"/>
                      <a:r>
                        <a:rPr lang="en-US" sz="1600">
                          <a:solidFill>
                            <a:srgbClr val="7030A0"/>
                          </a:solidFill>
                        </a:rPr>
                        <a:t>0.971</a:t>
                      </a:r>
                    </a:p>
                  </a:txBody>
                  <a:tcPr anchor="ctr"/>
                </a:tc>
                <a:tc>
                  <a:txBody>
                    <a:bodyPr/>
                    <a:lstStyle/>
                    <a:p>
                      <a:pPr algn="ctr"/>
                      <a:r>
                        <a:rPr lang="en-US" sz="1600">
                          <a:solidFill>
                            <a:schemeClr val="accent2">
                              <a:lumMod val="75000"/>
                            </a:schemeClr>
                          </a:solidFill>
                        </a:rPr>
                        <a:t>0.960</a:t>
                      </a:r>
                    </a:p>
                  </a:txBody>
                  <a:tcPr anchor="ctr"/>
                </a:tc>
                <a:extLst>
                  <a:ext uri="{0D108BD9-81ED-4DB2-BD59-A6C34878D82A}">
                    <a16:rowId xmlns:a16="http://schemas.microsoft.com/office/drawing/2014/main" val="4014899105"/>
                  </a:ext>
                </a:extLst>
              </a:tr>
              <a:tr h="470237">
                <a:tc>
                  <a:txBody>
                    <a:bodyPr/>
                    <a:lstStyle/>
                    <a:p>
                      <a:pPr algn="ctr"/>
                      <a:r>
                        <a:rPr lang="en-US" sz="1600">
                          <a:solidFill>
                            <a:schemeClr val="tx1"/>
                          </a:solidFill>
                        </a:rPr>
                        <a:t>Average Wind Speed</a:t>
                      </a:r>
                    </a:p>
                  </a:txBody>
                  <a:tcPr anchor="ctr"/>
                </a:tc>
                <a:tc>
                  <a:txBody>
                    <a:bodyPr/>
                    <a:lstStyle/>
                    <a:p>
                      <a:pPr algn="ctr"/>
                      <a:r>
                        <a:rPr lang="en-US" sz="1600">
                          <a:solidFill>
                            <a:schemeClr val="tx1"/>
                          </a:solidFill>
                        </a:rPr>
                        <a:t>0.442</a:t>
                      </a:r>
                    </a:p>
                  </a:txBody>
                  <a:tcPr anchor="ctr"/>
                </a:tc>
                <a:tc>
                  <a:txBody>
                    <a:bodyPr/>
                    <a:lstStyle/>
                    <a:p>
                      <a:pPr algn="ctr"/>
                      <a:r>
                        <a:rPr lang="en-US" sz="1600">
                          <a:solidFill>
                            <a:srgbClr val="7030A0"/>
                          </a:solidFill>
                        </a:rPr>
                        <a:t>0.915</a:t>
                      </a:r>
                    </a:p>
                  </a:txBody>
                  <a:tcPr anchor="ctr"/>
                </a:tc>
                <a:tc>
                  <a:txBody>
                    <a:bodyPr/>
                    <a:lstStyle/>
                    <a:p>
                      <a:pPr algn="ctr"/>
                      <a:r>
                        <a:rPr lang="en-US" sz="1600">
                          <a:solidFill>
                            <a:schemeClr val="accent2">
                              <a:lumMod val="75000"/>
                            </a:schemeClr>
                          </a:solidFill>
                        </a:rPr>
                        <a:t>0.896</a:t>
                      </a:r>
                    </a:p>
                  </a:txBody>
                  <a:tcPr anchor="ctr"/>
                </a:tc>
                <a:extLst>
                  <a:ext uri="{0D108BD9-81ED-4DB2-BD59-A6C34878D82A}">
                    <a16:rowId xmlns:a16="http://schemas.microsoft.com/office/drawing/2014/main" val="1733285006"/>
                  </a:ext>
                </a:extLst>
              </a:tr>
              <a:tr h="470237">
                <a:tc>
                  <a:txBody>
                    <a:bodyPr/>
                    <a:lstStyle/>
                    <a:p>
                      <a:pPr algn="ctr"/>
                      <a:r>
                        <a:rPr lang="en-US" sz="1600">
                          <a:solidFill>
                            <a:schemeClr val="tx1"/>
                          </a:solidFill>
                        </a:rPr>
                        <a:t>Average Relative Humidity</a:t>
                      </a:r>
                    </a:p>
                  </a:txBody>
                  <a:tcPr anchor="ctr"/>
                </a:tc>
                <a:tc>
                  <a:txBody>
                    <a:bodyPr/>
                    <a:lstStyle/>
                    <a:p>
                      <a:pPr algn="ctr"/>
                      <a:r>
                        <a:rPr lang="en-US" sz="1600">
                          <a:solidFill>
                            <a:schemeClr val="tx1"/>
                          </a:solidFill>
                        </a:rPr>
                        <a:t>0.797</a:t>
                      </a:r>
                    </a:p>
                  </a:txBody>
                  <a:tcPr anchor="ctr"/>
                </a:tc>
                <a:tc>
                  <a:txBody>
                    <a:bodyPr/>
                    <a:lstStyle/>
                    <a:p>
                      <a:pPr algn="ctr"/>
                      <a:r>
                        <a:rPr lang="en-US" sz="1600">
                          <a:solidFill>
                            <a:srgbClr val="7030A0"/>
                          </a:solidFill>
                        </a:rPr>
                        <a:t>0.948</a:t>
                      </a:r>
                    </a:p>
                  </a:txBody>
                  <a:tcPr anchor="ctr"/>
                </a:tc>
                <a:tc>
                  <a:txBody>
                    <a:bodyPr/>
                    <a:lstStyle/>
                    <a:p>
                      <a:pPr algn="ctr"/>
                      <a:r>
                        <a:rPr lang="en-US" sz="1600">
                          <a:solidFill>
                            <a:schemeClr val="accent2">
                              <a:lumMod val="75000"/>
                            </a:schemeClr>
                          </a:solidFill>
                        </a:rPr>
                        <a:t>0.940</a:t>
                      </a:r>
                    </a:p>
                  </a:txBody>
                  <a:tcPr anchor="ctr"/>
                </a:tc>
                <a:extLst>
                  <a:ext uri="{0D108BD9-81ED-4DB2-BD59-A6C34878D82A}">
                    <a16:rowId xmlns:a16="http://schemas.microsoft.com/office/drawing/2014/main" val="3499167126"/>
                  </a:ext>
                </a:extLst>
              </a:tr>
              <a:tr h="470237">
                <a:tc>
                  <a:txBody>
                    <a:bodyPr/>
                    <a:lstStyle/>
                    <a:p>
                      <a:pPr algn="ctr"/>
                      <a:r>
                        <a:rPr lang="en-US" sz="1600">
                          <a:solidFill>
                            <a:schemeClr val="tx1"/>
                          </a:solidFill>
                        </a:rPr>
                        <a:t>Average Temperature</a:t>
                      </a:r>
                    </a:p>
                  </a:txBody>
                  <a:tcPr anchor="ctr"/>
                </a:tc>
                <a:tc>
                  <a:txBody>
                    <a:bodyPr/>
                    <a:lstStyle/>
                    <a:p>
                      <a:pPr algn="ctr"/>
                      <a:r>
                        <a:rPr lang="en-US" sz="1600">
                          <a:solidFill>
                            <a:schemeClr val="tx1"/>
                          </a:solidFill>
                        </a:rPr>
                        <a:t>0.825</a:t>
                      </a:r>
                    </a:p>
                  </a:txBody>
                  <a:tcPr anchor="ctr"/>
                </a:tc>
                <a:tc>
                  <a:txBody>
                    <a:bodyPr/>
                    <a:lstStyle/>
                    <a:p>
                      <a:pPr algn="ctr"/>
                      <a:r>
                        <a:rPr lang="en-US" sz="1600">
                          <a:solidFill>
                            <a:srgbClr val="7030A0"/>
                          </a:solidFill>
                        </a:rPr>
                        <a:t>0.989</a:t>
                      </a:r>
                    </a:p>
                  </a:txBody>
                  <a:tcPr anchor="ctr"/>
                </a:tc>
                <a:tc>
                  <a:txBody>
                    <a:bodyPr/>
                    <a:lstStyle/>
                    <a:p>
                      <a:pPr algn="ctr"/>
                      <a:r>
                        <a:rPr lang="en-US" sz="1600">
                          <a:solidFill>
                            <a:schemeClr val="accent2">
                              <a:lumMod val="75000"/>
                            </a:schemeClr>
                          </a:solidFill>
                        </a:rPr>
                        <a:t>0.987</a:t>
                      </a:r>
                    </a:p>
                  </a:txBody>
                  <a:tcPr anchor="ctr"/>
                </a:tc>
                <a:extLst>
                  <a:ext uri="{0D108BD9-81ED-4DB2-BD59-A6C34878D82A}">
                    <a16:rowId xmlns:a16="http://schemas.microsoft.com/office/drawing/2014/main" val="4143933347"/>
                  </a:ext>
                </a:extLst>
              </a:tr>
              <a:tr h="470237">
                <a:tc>
                  <a:txBody>
                    <a:bodyPr/>
                    <a:lstStyle/>
                    <a:p>
                      <a:pPr algn="ctr"/>
                      <a:r>
                        <a:rPr lang="en-US" sz="1600" b="1" dirty="0">
                          <a:solidFill>
                            <a:schemeClr val="tx1"/>
                          </a:solidFill>
                        </a:rPr>
                        <a:t>Total Precipitation</a:t>
                      </a:r>
                    </a:p>
                  </a:txBody>
                  <a:tcPr anchor="ctr"/>
                </a:tc>
                <a:tc>
                  <a:txBody>
                    <a:bodyPr/>
                    <a:lstStyle/>
                    <a:p>
                      <a:pPr algn="ctr"/>
                      <a:r>
                        <a:rPr lang="en-US" sz="1600" b="1" dirty="0">
                          <a:solidFill>
                            <a:schemeClr val="tx1"/>
                          </a:solidFill>
                        </a:rPr>
                        <a:t>0.509</a:t>
                      </a:r>
                    </a:p>
                  </a:txBody>
                  <a:tcPr anchor="ctr"/>
                </a:tc>
                <a:tc>
                  <a:txBody>
                    <a:bodyPr/>
                    <a:lstStyle/>
                    <a:p>
                      <a:pPr algn="ctr"/>
                      <a:r>
                        <a:rPr lang="en-US" sz="1600" b="1" dirty="0">
                          <a:solidFill>
                            <a:srgbClr val="7030A0"/>
                          </a:solidFill>
                        </a:rPr>
                        <a:t>0.582</a:t>
                      </a:r>
                    </a:p>
                  </a:txBody>
                  <a:tcPr anchor="ctr"/>
                </a:tc>
                <a:tc>
                  <a:txBody>
                    <a:bodyPr/>
                    <a:lstStyle/>
                    <a:p>
                      <a:pPr algn="ctr"/>
                      <a:r>
                        <a:rPr lang="en-US" sz="1600" b="1" dirty="0">
                          <a:solidFill>
                            <a:schemeClr val="accent2">
                              <a:lumMod val="75000"/>
                            </a:schemeClr>
                          </a:solidFill>
                        </a:rPr>
                        <a:t>0.504</a:t>
                      </a:r>
                    </a:p>
                  </a:txBody>
                  <a:tcPr anchor="ctr"/>
                </a:tc>
                <a:extLst>
                  <a:ext uri="{0D108BD9-81ED-4DB2-BD59-A6C34878D82A}">
                    <a16:rowId xmlns:a16="http://schemas.microsoft.com/office/drawing/2014/main" val="725008321"/>
                  </a:ext>
                </a:extLst>
              </a:tr>
            </a:tbl>
          </a:graphicData>
        </a:graphic>
      </p:graphicFrame>
      <p:sp>
        <p:nvSpPr>
          <p:cNvPr id="7" name="TextBox 6">
            <a:extLst>
              <a:ext uri="{FF2B5EF4-FFF2-40B4-BE49-F238E27FC236}">
                <a16:creationId xmlns:a16="http://schemas.microsoft.com/office/drawing/2014/main" id="{F6EAD1EE-7BCC-F32D-900D-A3EA1DD52B04}"/>
              </a:ext>
            </a:extLst>
          </p:cNvPr>
          <p:cNvSpPr txBox="1"/>
          <p:nvPr/>
        </p:nvSpPr>
        <p:spPr>
          <a:xfrm>
            <a:off x="1060582" y="1174887"/>
            <a:ext cx="10191565" cy="646331"/>
          </a:xfrm>
          <a:prstGeom prst="rect">
            <a:avLst/>
          </a:prstGeom>
          <a:noFill/>
        </p:spPr>
        <p:txBody>
          <a:bodyPr wrap="square" rtlCol="0">
            <a:spAutoFit/>
          </a:bodyPr>
          <a:lstStyle/>
          <a:p>
            <a:r>
              <a:rPr lang="en-US"/>
              <a:t>ML model improves R</a:t>
            </a:r>
            <a:r>
              <a:rPr lang="en-US" baseline="30000"/>
              <a:t>2 </a:t>
            </a:r>
            <a:r>
              <a:rPr lang="en-US"/>
              <a:t>in both train and test dataset for the weather variables expect for the ML/DL model for total precipitation.</a:t>
            </a:r>
            <a:r>
              <a:rPr lang="en-US" baseline="30000"/>
              <a:t> </a:t>
            </a:r>
          </a:p>
        </p:txBody>
      </p:sp>
      <p:cxnSp>
        <p:nvCxnSpPr>
          <p:cNvPr id="5" name="Straight Arrow Connector 4">
            <a:extLst>
              <a:ext uri="{FF2B5EF4-FFF2-40B4-BE49-F238E27FC236}">
                <a16:creationId xmlns:a16="http://schemas.microsoft.com/office/drawing/2014/main" id="{DAB66E9A-2F8A-176A-5927-5B66B3A0DCCE}"/>
              </a:ext>
            </a:extLst>
          </p:cNvPr>
          <p:cNvCxnSpPr>
            <a:cxnSpLocks/>
          </p:cNvCxnSpPr>
          <p:nvPr/>
        </p:nvCxnSpPr>
        <p:spPr>
          <a:xfrm flipV="1">
            <a:off x="4991100" y="2593244"/>
            <a:ext cx="0" cy="24669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6" name="TextBox 5">
            <a:extLst>
              <a:ext uri="{FF2B5EF4-FFF2-40B4-BE49-F238E27FC236}">
                <a16:creationId xmlns:a16="http://schemas.microsoft.com/office/drawing/2014/main" id="{FCAC62EA-8A81-EE11-10F3-39C2B2E65E1E}"/>
              </a:ext>
            </a:extLst>
          </p:cNvPr>
          <p:cNvSpPr txBox="1"/>
          <p:nvPr/>
        </p:nvSpPr>
        <p:spPr>
          <a:xfrm>
            <a:off x="3795712" y="1725815"/>
            <a:ext cx="2390775" cy="830997"/>
          </a:xfrm>
          <a:prstGeom prst="rect">
            <a:avLst/>
          </a:prstGeom>
          <a:noFill/>
        </p:spPr>
        <p:txBody>
          <a:bodyPr wrap="square" rtlCol="0">
            <a:spAutoFit/>
          </a:bodyPr>
          <a:lstStyle/>
          <a:p>
            <a:pPr algn="ctr"/>
            <a:r>
              <a:rPr lang="en-US" sz="1600" i="1" dirty="0"/>
              <a:t>R</a:t>
            </a:r>
            <a:r>
              <a:rPr lang="en-US" sz="1600" i="1" baseline="30000" dirty="0"/>
              <a:t>2</a:t>
            </a:r>
            <a:r>
              <a:rPr lang="en-US" sz="1600" i="1" dirty="0"/>
              <a:t> between resampled ERA5 data (4km) and TWC Data (4km)</a:t>
            </a:r>
          </a:p>
        </p:txBody>
      </p:sp>
      <p:sp>
        <p:nvSpPr>
          <p:cNvPr id="8" name="TextBox 7">
            <a:extLst>
              <a:ext uri="{FF2B5EF4-FFF2-40B4-BE49-F238E27FC236}">
                <a16:creationId xmlns:a16="http://schemas.microsoft.com/office/drawing/2014/main" id="{DF929442-23E2-832B-07C5-CFA9F0D8C74C}"/>
              </a:ext>
            </a:extLst>
          </p:cNvPr>
          <p:cNvSpPr txBox="1"/>
          <p:nvPr/>
        </p:nvSpPr>
        <p:spPr>
          <a:xfrm>
            <a:off x="7209643" y="1725815"/>
            <a:ext cx="2390775" cy="830997"/>
          </a:xfrm>
          <a:prstGeom prst="rect">
            <a:avLst/>
          </a:prstGeom>
          <a:noFill/>
        </p:spPr>
        <p:txBody>
          <a:bodyPr wrap="square" rtlCol="0">
            <a:spAutoFit/>
          </a:bodyPr>
          <a:lstStyle/>
          <a:p>
            <a:pPr algn="ctr"/>
            <a:r>
              <a:rPr lang="en-US" sz="1600" i="1" dirty="0"/>
              <a:t>R</a:t>
            </a:r>
            <a:r>
              <a:rPr lang="en-US" sz="1600" i="1" baseline="30000" dirty="0"/>
              <a:t>2</a:t>
            </a:r>
            <a:r>
              <a:rPr lang="en-US" sz="1600" i="1" dirty="0"/>
              <a:t> between modeled ERA5 data (4km) and TWC Data (4km)</a:t>
            </a:r>
          </a:p>
        </p:txBody>
      </p:sp>
      <p:sp>
        <p:nvSpPr>
          <p:cNvPr id="10" name="Right Brace 9">
            <a:extLst>
              <a:ext uri="{FF2B5EF4-FFF2-40B4-BE49-F238E27FC236}">
                <a16:creationId xmlns:a16="http://schemas.microsoft.com/office/drawing/2014/main" id="{06DC33EA-80CC-17B8-8CC3-A0A0E08E06B1}"/>
              </a:ext>
            </a:extLst>
          </p:cNvPr>
          <p:cNvSpPr/>
          <p:nvPr/>
        </p:nvSpPr>
        <p:spPr>
          <a:xfrm rot="16200000">
            <a:off x="8262157" y="1520323"/>
            <a:ext cx="285749" cy="2305045"/>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sp>
        <p:nvSpPr>
          <p:cNvPr id="3" name="Rectangle 2">
            <a:extLst>
              <a:ext uri="{FF2B5EF4-FFF2-40B4-BE49-F238E27FC236}">
                <a16:creationId xmlns:a16="http://schemas.microsoft.com/office/drawing/2014/main" id="{F85CE8A7-A3C4-8714-8E34-FC0984E2782A}"/>
              </a:ext>
            </a:extLst>
          </p:cNvPr>
          <p:cNvSpPr/>
          <p:nvPr/>
        </p:nvSpPr>
        <p:spPr>
          <a:xfrm>
            <a:off x="1535966" y="5909853"/>
            <a:ext cx="9240795" cy="646331"/>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094737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heel(1)">
                                      <p:cBhvr>
                                        <p:cTn id="7" dur="2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865388" y="308973"/>
            <a:ext cx="9771851" cy="86591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i="1" u="sng">
                <a:solidFill>
                  <a:schemeClr val="accent1">
                    <a:lumMod val="50000"/>
                  </a:schemeClr>
                </a:solidFill>
                <a:latin typeface="Calibri Light" panose="020F0302020204030204" pitchFamily="34" charset="0"/>
              </a:rPr>
              <a:t>ML Model Results : </a:t>
            </a:r>
            <a:r>
              <a:rPr lang="en-US" sz="4000" b="1" i="1" u="sng">
                <a:solidFill>
                  <a:schemeClr val="accent1">
                    <a:lumMod val="50000"/>
                  </a:schemeClr>
                </a:solidFill>
                <a:latin typeface="Calibri Light" panose="020F0302020204030204" pitchFamily="34" charset="0"/>
              </a:rPr>
              <a:t>Average Relative Humidity</a:t>
            </a:r>
            <a:endParaRPr lang="en-US" sz="4000" b="1" i="1" u="sng">
              <a:solidFill>
                <a:schemeClr val="accent1">
                  <a:lumMod val="50000"/>
                </a:schemeClr>
              </a:solidFill>
            </a:endParaRPr>
          </a:p>
        </p:txBody>
      </p:sp>
      <p:pic>
        <p:nvPicPr>
          <p:cNvPr id="3" name="Picture 2">
            <a:extLst>
              <a:ext uri="{FF2B5EF4-FFF2-40B4-BE49-F238E27FC236}">
                <a16:creationId xmlns:a16="http://schemas.microsoft.com/office/drawing/2014/main" id="{72FDB37B-E1DB-C812-CAB0-7BE1829D147F}"/>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086895" y="2217129"/>
            <a:ext cx="3659149" cy="2678073"/>
          </a:xfrm>
          <a:prstGeom prst="rect">
            <a:avLst/>
          </a:prstGeom>
        </p:spPr>
      </p:pic>
      <p:pic>
        <p:nvPicPr>
          <p:cNvPr id="6" name="Picture 5">
            <a:extLst>
              <a:ext uri="{FF2B5EF4-FFF2-40B4-BE49-F238E27FC236}">
                <a16:creationId xmlns:a16="http://schemas.microsoft.com/office/drawing/2014/main" id="{B09638A6-6111-A6EC-914F-C98B17862DE6}"/>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4127904" y="2210577"/>
            <a:ext cx="3698504" cy="2724020"/>
          </a:xfrm>
          <a:prstGeom prst="rect">
            <a:avLst/>
          </a:prstGeom>
        </p:spPr>
      </p:pic>
      <p:pic>
        <p:nvPicPr>
          <p:cNvPr id="8" name="Picture 7">
            <a:extLst>
              <a:ext uri="{FF2B5EF4-FFF2-40B4-BE49-F238E27FC236}">
                <a16:creationId xmlns:a16="http://schemas.microsoft.com/office/drawing/2014/main" id="{1F7DC9F6-9984-9A8A-6C84-FC2CCC04B586}"/>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162584" y="2177616"/>
            <a:ext cx="3704741" cy="2721664"/>
          </a:xfrm>
          <a:prstGeom prst="rect">
            <a:avLst/>
          </a:prstGeom>
        </p:spPr>
      </p:pic>
      <p:sp>
        <p:nvSpPr>
          <p:cNvPr id="19" name="TextBox 18">
            <a:extLst>
              <a:ext uri="{FF2B5EF4-FFF2-40B4-BE49-F238E27FC236}">
                <a16:creationId xmlns:a16="http://schemas.microsoft.com/office/drawing/2014/main" id="{688695E6-03F4-CEE4-56E6-1BA85F5F2FA3}"/>
              </a:ext>
            </a:extLst>
          </p:cNvPr>
          <p:cNvSpPr txBox="1"/>
          <p:nvPr/>
        </p:nvSpPr>
        <p:spPr>
          <a:xfrm>
            <a:off x="643354" y="5317235"/>
            <a:ext cx="2743200" cy="584775"/>
          </a:xfrm>
          <a:prstGeom prst="rect">
            <a:avLst/>
          </a:prstGeom>
          <a:noFill/>
        </p:spPr>
        <p:txBody>
          <a:bodyPr wrap="square" rtlCol="0">
            <a:spAutoFit/>
          </a:bodyPr>
          <a:lstStyle/>
          <a:p>
            <a:pPr algn="ctr"/>
            <a:r>
              <a:rPr lang="en-US" sz="1600" i="1"/>
              <a:t>resampled ERA5 data (4km) vs </a:t>
            </a:r>
          </a:p>
          <a:p>
            <a:pPr algn="ctr"/>
            <a:r>
              <a:rPr lang="en-US" sz="1600" i="1"/>
              <a:t>TWC Data (4km)</a:t>
            </a:r>
            <a:endParaRPr lang="en-US" sz="1600"/>
          </a:p>
        </p:txBody>
      </p:sp>
      <p:sp>
        <p:nvSpPr>
          <p:cNvPr id="2" name="Slide Number Placeholder 1">
            <a:extLst>
              <a:ext uri="{FF2B5EF4-FFF2-40B4-BE49-F238E27FC236}">
                <a16:creationId xmlns:a16="http://schemas.microsoft.com/office/drawing/2014/main" id="{E6BEB49A-2464-E7CC-0559-7A1ACBF185C0}"/>
              </a:ext>
            </a:extLst>
          </p:cNvPr>
          <p:cNvSpPr>
            <a:spLocks noGrp="1"/>
          </p:cNvSpPr>
          <p:nvPr>
            <p:ph type="sldNum" sz="quarter" idx="12"/>
          </p:nvPr>
        </p:nvSpPr>
        <p:spPr/>
        <p:txBody>
          <a:bodyPr/>
          <a:lstStyle/>
          <a:p>
            <a:fld id="{EEAD9179-7A6B-4268-BEB2-F3B8EB06115B}" type="slidenum">
              <a:rPr lang="en-US" noProof="0" smtClean="0"/>
              <a:t>18</a:t>
            </a:fld>
            <a:endParaRPr lang="en-US" noProof="0"/>
          </a:p>
        </p:txBody>
      </p:sp>
      <p:sp>
        <p:nvSpPr>
          <p:cNvPr id="4" name="TextBox 3">
            <a:extLst>
              <a:ext uri="{FF2B5EF4-FFF2-40B4-BE49-F238E27FC236}">
                <a16:creationId xmlns:a16="http://schemas.microsoft.com/office/drawing/2014/main" id="{B4EACCC8-A0AE-2AB6-B07C-62D44ABA8828}"/>
              </a:ext>
            </a:extLst>
          </p:cNvPr>
          <p:cNvSpPr txBox="1"/>
          <p:nvPr/>
        </p:nvSpPr>
        <p:spPr>
          <a:xfrm>
            <a:off x="865388" y="1143321"/>
            <a:ext cx="10191565" cy="646331"/>
          </a:xfrm>
          <a:prstGeom prst="rect">
            <a:avLst/>
          </a:prstGeom>
          <a:noFill/>
        </p:spPr>
        <p:txBody>
          <a:bodyPr wrap="square" rtlCol="0">
            <a:spAutoFit/>
          </a:bodyPr>
          <a:lstStyle/>
          <a:p>
            <a:r>
              <a:rPr lang="en-US" dirty="0"/>
              <a:t>ML model (GOSS) interpolated </a:t>
            </a:r>
            <a:r>
              <a:rPr lang="en-US" u="sng" dirty="0"/>
              <a:t>Average Relative Humidity</a:t>
            </a:r>
            <a:r>
              <a:rPr lang="en-US" dirty="0"/>
              <a:t> has improved R</a:t>
            </a:r>
            <a:r>
              <a:rPr lang="en-US" baseline="30000" dirty="0"/>
              <a:t>2 </a:t>
            </a:r>
            <a:r>
              <a:rPr lang="en-US" dirty="0"/>
              <a:t>score with observed data in both train and test set.</a:t>
            </a:r>
            <a:r>
              <a:rPr lang="en-US" baseline="30000" dirty="0"/>
              <a:t> </a:t>
            </a:r>
          </a:p>
        </p:txBody>
      </p:sp>
      <p:sp>
        <p:nvSpPr>
          <p:cNvPr id="5" name="TextBox 4">
            <a:extLst>
              <a:ext uri="{FF2B5EF4-FFF2-40B4-BE49-F238E27FC236}">
                <a16:creationId xmlns:a16="http://schemas.microsoft.com/office/drawing/2014/main" id="{2C4B97AD-3481-D64C-B324-757BD5800ED7}"/>
              </a:ext>
            </a:extLst>
          </p:cNvPr>
          <p:cNvSpPr txBox="1"/>
          <p:nvPr/>
        </p:nvSpPr>
        <p:spPr>
          <a:xfrm>
            <a:off x="4491037" y="5176070"/>
            <a:ext cx="3209925" cy="1077218"/>
          </a:xfrm>
          <a:prstGeom prst="rect">
            <a:avLst/>
          </a:prstGeom>
          <a:noFill/>
        </p:spPr>
        <p:txBody>
          <a:bodyPr wrap="square" rtlCol="0">
            <a:spAutoFit/>
          </a:bodyPr>
          <a:lstStyle/>
          <a:p>
            <a:pPr algn="ctr"/>
            <a:r>
              <a:rPr lang="en-US" sz="1600" i="1"/>
              <a:t>model interpolated ERA5 data (4km) vs </a:t>
            </a:r>
          </a:p>
          <a:p>
            <a:pPr algn="ctr"/>
            <a:r>
              <a:rPr lang="en-US" sz="1600" i="1"/>
              <a:t>TWC Data (4km)</a:t>
            </a:r>
          </a:p>
          <a:p>
            <a:pPr algn="ctr"/>
            <a:r>
              <a:rPr lang="en-US" sz="1600"/>
              <a:t>(</a:t>
            </a:r>
            <a:r>
              <a:rPr lang="en-US" sz="1600">
                <a:solidFill>
                  <a:srgbClr val="7030A0"/>
                </a:solidFill>
              </a:rPr>
              <a:t>train</a:t>
            </a:r>
            <a:r>
              <a:rPr lang="en-US" sz="1600"/>
              <a:t> set)</a:t>
            </a:r>
          </a:p>
        </p:txBody>
      </p:sp>
      <p:sp>
        <p:nvSpPr>
          <p:cNvPr id="7" name="TextBox 6">
            <a:extLst>
              <a:ext uri="{FF2B5EF4-FFF2-40B4-BE49-F238E27FC236}">
                <a16:creationId xmlns:a16="http://schemas.microsoft.com/office/drawing/2014/main" id="{FF569CC5-F4F5-11D1-7477-3BA17EB63AD1}"/>
              </a:ext>
            </a:extLst>
          </p:cNvPr>
          <p:cNvSpPr txBox="1"/>
          <p:nvPr/>
        </p:nvSpPr>
        <p:spPr>
          <a:xfrm>
            <a:off x="8441497" y="5176070"/>
            <a:ext cx="3324225" cy="1077218"/>
          </a:xfrm>
          <a:prstGeom prst="rect">
            <a:avLst/>
          </a:prstGeom>
          <a:noFill/>
        </p:spPr>
        <p:txBody>
          <a:bodyPr wrap="square" rtlCol="0">
            <a:spAutoFit/>
          </a:bodyPr>
          <a:lstStyle/>
          <a:p>
            <a:pPr algn="ctr"/>
            <a:r>
              <a:rPr lang="en-US" sz="1600" i="1"/>
              <a:t>model interpolated ERA5 data (4km) vs </a:t>
            </a:r>
          </a:p>
          <a:p>
            <a:pPr algn="ctr"/>
            <a:r>
              <a:rPr lang="en-US" sz="1600" i="1"/>
              <a:t>TWC Data (4km)</a:t>
            </a:r>
          </a:p>
          <a:p>
            <a:pPr algn="ctr"/>
            <a:r>
              <a:rPr lang="en-US" sz="1600"/>
              <a:t>(</a:t>
            </a:r>
            <a:r>
              <a:rPr lang="en-US" sz="1600">
                <a:solidFill>
                  <a:schemeClr val="accent2">
                    <a:lumMod val="75000"/>
                  </a:schemeClr>
                </a:solidFill>
              </a:rPr>
              <a:t>test</a:t>
            </a:r>
            <a:r>
              <a:rPr lang="en-US" sz="1600"/>
              <a:t> set)</a:t>
            </a:r>
          </a:p>
        </p:txBody>
      </p:sp>
      <p:sp>
        <p:nvSpPr>
          <p:cNvPr id="10" name="TextBox 9">
            <a:extLst>
              <a:ext uri="{FF2B5EF4-FFF2-40B4-BE49-F238E27FC236}">
                <a16:creationId xmlns:a16="http://schemas.microsoft.com/office/drawing/2014/main" id="{89F62B33-C92D-CA80-B773-7CF7B8562165}"/>
              </a:ext>
            </a:extLst>
          </p:cNvPr>
          <p:cNvSpPr txBox="1"/>
          <p:nvPr/>
        </p:nvSpPr>
        <p:spPr>
          <a:xfrm>
            <a:off x="732400" y="2305387"/>
            <a:ext cx="415265" cy="276999"/>
          </a:xfrm>
          <a:prstGeom prst="rect">
            <a:avLst/>
          </a:prstGeom>
          <a:solidFill>
            <a:schemeClr val="bg1"/>
          </a:solidFill>
        </p:spPr>
        <p:txBody>
          <a:bodyPr wrap="square" rtlCol="0">
            <a:spAutoFit/>
          </a:bodyPr>
          <a:lstStyle/>
          <a:p>
            <a:pPr algn="r"/>
            <a:r>
              <a:rPr lang="en-US" sz="1200" dirty="0"/>
              <a:t>R</a:t>
            </a:r>
            <a:r>
              <a:rPr lang="en-US" sz="1200" baseline="30000" dirty="0"/>
              <a:t>2</a:t>
            </a:r>
            <a:r>
              <a:rPr lang="en-US" sz="1200" dirty="0"/>
              <a:t>:</a:t>
            </a:r>
          </a:p>
        </p:txBody>
      </p:sp>
      <p:sp>
        <p:nvSpPr>
          <p:cNvPr id="11" name="TextBox 10">
            <a:extLst>
              <a:ext uri="{FF2B5EF4-FFF2-40B4-BE49-F238E27FC236}">
                <a16:creationId xmlns:a16="http://schemas.microsoft.com/office/drawing/2014/main" id="{D0B5A9D1-BF3F-73D8-C3F1-1F35EF034257}"/>
              </a:ext>
            </a:extLst>
          </p:cNvPr>
          <p:cNvSpPr txBox="1"/>
          <p:nvPr/>
        </p:nvSpPr>
        <p:spPr>
          <a:xfrm>
            <a:off x="4710350" y="2328339"/>
            <a:ext cx="415265" cy="276999"/>
          </a:xfrm>
          <a:prstGeom prst="rect">
            <a:avLst/>
          </a:prstGeom>
          <a:solidFill>
            <a:schemeClr val="bg1"/>
          </a:solidFill>
        </p:spPr>
        <p:txBody>
          <a:bodyPr wrap="square" rtlCol="0">
            <a:spAutoFit/>
          </a:bodyPr>
          <a:lstStyle/>
          <a:p>
            <a:pPr algn="r"/>
            <a:r>
              <a:rPr lang="en-US" sz="1200" dirty="0"/>
              <a:t>R</a:t>
            </a:r>
            <a:r>
              <a:rPr lang="en-US" sz="1200" baseline="30000" dirty="0"/>
              <a:t>2</a:t>
            </a:r>
            <a:r>
              <a:rPr lang="en-US" sz="1200" dirty="0"/>
              <a:t>:</a:t>
            </a:r>
          </a:p>
        </p:txBody>
      </p:sp>
      <p:sp>
        <p:nvSpPr>
          <p:cNvPr id="12" name="TextBox 11">
            <a:extLst>
              <a:ext uri="{FF2B5EF4-FFF2-40B4-BE49-F238E27FC236}">
                <a16:creationId xmlns:a16="http://schemas.microsoft.com/office/drawing/2014/main" id="{1C43CC01-EEB6-8A13-7031-48BEDC3B6F27}"/>
              </a:ext>
            </a:extLst>
          </p:cNvPr>
          <p:cNvSpPr txBox="1"/>
          <p:nvPr/>
        </p:nvSpPr>
        <p:spPr>
          <a:xfrm>
            <a:off x="8666531" y="2374994"/>
            <a:ext cx="415265" cy="276999"/>
          </a:xfrm>
          <a:prstGeom prst="rect">
            <a:avLst/>
          </a:prstGeom>
          <a:solidFill>
            <a:schemeClr val="bg1"/>
          </a:solidFill>
        </p:spPr>
        <p:txBody>
          <a:bodyPr wrap="square" rtlCol="0">
            <a:spAutoFit/>
          </a:bodyPr>
          <a:lstStyle/>
          <a:p>
            <a:pPr algn="r"/>
            <a:r>
              <a:rPr lang="en-US" sz="1200" dirty="0"/>
              <a:t>R</a:t>
            </a:r>
            <a:r>
              <a:rPr lang="en-US" sz="1200" baseline="30000" dirty="0"/>
              <a:t>2</a:t>
            </a:r>
            <a:r>
              <a:rPr lang="en-US" sz="1200" dirty="0"/>
              <a:t>:</a:t>
            </a:r>
          </a:p>
        </p:txBody>
      </p:sp>
    </p:spTree>
    <p:extLst>
      <p:ext uri="{BB962C8B-B14F-4D97-AF65-F5344CB8AC3E}">
        <p14:creationId xmlns:p14="http://schemas.microsoft.com/office/powerpoint/2010/main" val="22083491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1"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par>
                                <p:cTn id="15" presetID="10"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P spid="11" grpId="0" animBg="1"/>
      <p:bldP spid="12"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768194" y="289742"/>
            <a:ext cx="9144000" cy="731604"/>
          </a:xfrm>
          <a:prstGeom prst="rect">
            <a:avLst/>
          </a:prstGeom>
        </p:spPr>
        <p:txBody>
          <a:bodyPr vert="horz" lIns="91440" tIns="45720" rIns="91440" bIns="45720" rtlCol="0" anchor="ctr">
            <a:normAutofit fontScale="92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i="1" u="sng">
                <a:solidFill>
                  <a:schemeClr val="accent1">
                    <a:lumMod val="50000"/>
                  </a:schemeClr>
                </a:solidFill>
                <a:latin typeface="Calibri Light" panose="020F0302020204030204" pitchFamily="34" charset="0"/>
              </a:rPr>
              <a:t>ML Model Results : </a:t>
            </a:r>
            <a:r>
              <a:rPr lang="en-US" sz="4000" b="1" i="1" u="sng">
                <a:solidFill>
                  <a:schemeClr val="accent1">
                    <a:lumMod val="50000"/>
                  </a:schemeClr>
                </a:solidFill>
                <a:latin typeface="Calibri Light" panose="020F0302020204030204" pitchFamily="34" charset="0"/>
              </a:rPr>
              <a:t>Average Relative Humidity</a:t>
            </a:r>
            <a:endParaRPr lang="en-US" sz="4000" b="1" i="1" u="sng">
              <a:solidFill>
                <a:schemeClr val="accent1">
                  <a:lumMod val="50000"/>
                </a:schemeClr>
              </a:solidFill>
            </a:endParaRPr>
          </a:p>
        </p:txBody>
      </p:sp>
      <p:cxnSp>
        <p:nvCxnSpPr>
          <p:cNvPr id="24" name="Straight Connector 23">
            <a:extLst>
              <a:ext uri="{FF2B5EF4-FFF2-40B4-BE49-F238E27FC236}">
                <a16:creationId xmlns:a16="http://schemas.microsoft.com/office/drawing/2014/main" id="{99D01E62-F77D-E62A-0C2D-824A66B5AD7B}"/>
              </a:ext>
            </a:extLst>
          </p:cNvPr>
          <p:cNvCxnSpPr>
            <a:cxnSpLocks/>
          </p:cNvCxnSpPr>
          <p:nvPr/>
        </p:nvCxnSpPr>
        <p:spPr>
          <a:xfrm>
            <a:off x="6096000" y="1686757"/>
            <a:ext cx="0" cy="4983876"/>
          </a:xfrm>
          <a:prstGeom prst="line">
            <a:avLst/>
          </a:prstGeom>
          <a:ln/>
        </p:spPr>
        <p:style>
          <a:lnRef idx="1">
            <a:schemeClr val="dk1"/>
          </a:lnRef>
          <a:fillRef idx="0">
            <a:schemeClr val="dk1"/>
          </a:fillRef>
          <a:effectRef idx="0">
            <a:schemeClr val="dk1"/>
          </a:effectRef>
          <a:fontRef idx="minor">
            <a:schemeClr val="tx1"/>
          </a:fontRef>
        </p:style>
      </p:cxnSp>
      <p:pic>
        <p:nvPicPr>
          <p:cNvPr id="4" name="Picture 3">
            <a:extLst>
              <a:ext uri="{FF2B5EF4-FFF2-40B4-BE49-F238E27FC236}">
                <a16:creationId xmlns:a16="http://schemas.microsoft.com/office/drawing/2014/main" id="{1B7C3091-DEA4-66D1-884C-6CB2FD58DBE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909674" y="4398645"/>
            <a:ext cx="2905945" cy="2271988"/>
          </a:xfrm>
          <a:prstGeom prst="rect">
            <a:avLst/>
          </a:prstGeom>
        </p:spPr>
      </p:pic>
      <p:pic>
        <p:nvPicPr>
          <p:cNvPr id="7" name="Picture 6">
            <a:extLst>
              <a:ext uri="{FF2B5EF4-FFF2-40B4-BE49-F238E27FC236}">
                <a16:creationId xmlns:a16="http://schemas.microsoft.com/office/drawing/2014/main" id="{B5713B37-2314-473A-D0AE-587C49D1AB7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889706" y="1833199"/>
            <a:ext cx="2940838" cy="2285260"/>
          </a:xfrm>
          <a:prstGeom prst="rect">
            <a:avLst/>
          </a:prstGeom>
        </p:spPr>
      </p:pic>
      <p:sp>
        <p:nvSpPr>
          <p:cNvPr id="11" name="TextBox 10">
            <a:extLst>
              <a:ext uri="{FF2B5EF4-FFF2-40B4-BE49-F238E27FC236}">
                <a16:creationId xmlns:a16="http://schemas.microsoft.com/office/drawing/2014/main" id="{34104EF3-AE2A-10CD-807A-5E8D98642890}"/>
              </a:ext>
            </a:extLst>
          </p:cNvPr>
          <p:cNvSpPr txBox="1"/>
          <p:nvPr/>
        </p:nvSpPr>
        <p:spPr>
          <a:xfrm rot="16200000">
            <a:off x="33028" y="2815064"/>
            <a:ext cx="2733410" cy="584775"/>
          </a:xfrm>
          <a:prstGeom prst="rect">
            <a:avLst/>
          </a:prstGeom>
          <a:noFill/>
        </p:spPr>
        <p:txBody>
          <a:bodyPr wrap="square" rtlCol="0">
            <a:spAutoFit/>
          </a:bodyPr>
          <a:lstStyle/>
          <a:p>
            <a:pPr algn="ctr"/>
            <a:r>
              <a:rPr lang="en-US" sz="1600"/>
              <a:t>Scatter Plot before </a:t>
            </a:r>
          </a:p>
          <a:p>
            <a:pPr algn="ctr"/>
            <a:r>
              <a:rPr lang="en-US" sz="1600"/>
              <a:t>model (</a:t>
            </a:r>
            <a:r>
              <a:rPr lang="en-US" sz="1600" u="sng"/>
              <a:t>test</a:t>
            </a:r>
            <a:r>
              <a:rPr lang="en-US" sz="1600"/>
              <a:t> set)</a:t>
            </a:r>
          </a:p>
        </p:txBody>
      </p:sp>
      <p:sp>
        <p:nvSpPr>
          <p:cNvPr id="12" name="TextBox 11">
            <a:extLst>
              <a:ext uri="{FF2B5EF4-FFF2-40B4-BE49-F238E27FC236}">
                <a16:creationId xmlns:a16="http://schemas.microsoft.com/office/drawing/2014/main" id="{563AE502-BE2B-F7DC-8070-3C524C7FC52F}"/>
              </a:ext>
            </a:extLst>
          </p:cNvPr>
          <p:cNvSpPr txBox="1"/>
          <p:nvPr/>
        </p:nvSpPr>
        <p:spPr>
          <a:xfrm rot="16200000">
            <a:off x="33029" y="5242251"/>
            <a:ext cx="2733410" cy="584775"/>
          </a:xfrm>
          <a:prstGeom prst="rect">
            <a:avLst/>
          </a:prstGeom>
          <a:noFill/>
        </p:spPr>
        <p:txBody>
          <a:bodyPr wrap="square" rtlCol="0">
            <a:spAutoFit/>
          </a:bodyPr>
          <a:lstStyle/>
          <a:p>
            <a:pPr algn="ctr"/>
            <a:r>
              <a:rPr lang="en-US" sz="1600">
                <a:solidFill>
                  <a:srgbClr val="00B050"/>
                </a:solidFill>
              </a:rPr>
              <a:t>Scatter Plot after ML </a:t>
            </a:r>
          </a:p>
          <a:p>
            <a:pPr algn="ctr"/>
            <a:r>
              <a:rPr lang="en-US" sz="1600">
                <a:solidFill>
                  <a:srgbClr val="00B050"/>
                </a:solidFill>
              </a:rPr>
              <a:t>model (</a:t>
            </a:r>
            <a:r>
              <a:rPr lang="en-US" sz="1600" u="sng">
                <a:solidFill>
                  <a:srgbClr val="00B050"/>
                </a:solidFill>
              </a:rPr>
              <a:t>test</a:t>
            </a:r>
            <a:r>
              <a:rPr lang="en-US" sz="1600">
                <a:solidFill>
                  <a:srgbClr val="00B050"/>
                </a:solidFill>
              </a:rPr>
              <a:t> set)</a:t>
            </a:r>
          </a:p>
        </p:txBody>
      </p:sp>
      <p:sp>
        <p:nvSpPr>
          <p:cNvPr id="15" name="TextBox 14">
            <a:extLst>
              <a:ext uri="{FF2B5EF4-FFF2-40B4-BE49-F238E27FC236}">
                <a16:creationId xmlns:a16="http://schemas.microsoft.com/office/drawing/2014/main" id="{A831B13C-8409-F4FA-2FD1-7B0D4DD54039}"/>
              </a:ext>
            </a:extLst>
          </p:cNvPr>
          <p:cNvSpPr txBox="1"/>
          <p:nvPr/>
        </p:nvSpPr>
        <p:spPr>
          <a:xfrm rot="16200000">
            <a:off x="5570606" y="2815064"/>
            <a:ext cx="2733410" cy="584775"/>
          </a:xfrm>
          <a:prstGeom prst="rect">
            <a:avLst/>
          </a:prstGeom>
          <a:noFill/>
        </p:spPr>
        <p:txBody>
          <a:bodyPr wrap="square" rtlCol="0">
            <a:spAutoFit/>
          </a:bodyPr>
          <a:lstStyle/>
          <a:p>
            <a:pPr algn="ctr"/>
            <a:r>
              <a:rPr lang="en-US" sz="1600"/>
              <a:t>Scatter Plot before </a:t>
            </a:r>
          </a:p>
          <a:p>
            <a:pPr algn="ctr"/>
            <a:r>
              <a:rPr lang="en-US" sz="1600"/>
              <a:t>model (</a:t>
            </a:r>
            <a:r>
              <a:rPr lang="en-US" sz="1600" u="sng"/>
              <a:t>test</a:t>
            </a:r>
            <a:r>
              <a:rPr lang="en-US" sz="1600"/>
              <a:t> set)</a:t>
            </a:r>
          </a:p>
        </p:txBody>
      </p:sp>
      <p:sp>
        <p:nvSpPr>
          <p:cNvPr id="16" name="TextBox 15">
            <a:extLst>
              <a:ext uri="{FF2B5EF4-FFF2-40B4-BE49-F238E27FC236}">
                <a16:creationId xmlns:a16="http://schemas.microsoft.com/office/drawing/2014/main" id="{74FA2828-4265-79AB-6956-60772E0CBF25}"/>
              </a:ext>
            </a:extLst>
          </p:cNvPr>
          <p:cNvSpPr txBox="1"/>
          <p:nvPr/>
        </p:nvSpPr>
        <p:spPr>
          <a:xfrm rot="16200000">
            <a:off x="5570607" y="5253012"/>
            <a:ext cx="2733410" cy="584775"/>
          </a:xfrm>
          <a:prstGeom prst="rect">
            <a:avLst/>
          </a:prstGeom>
          <a:noFill/>
        </p:spPr>
        <p:txBody>
          <a:bodyPr wrap="square" rtlCol="0">
            <a:spAutoFit/>
          </a:bodyPr>
          <a:lstStyle/>
          <a:p>
            <a:pPr algn="ctr"/>
            <a:r>
              <a:rPr lang="en-US" sz="1600">
                <a:solidFill>
                  <a:srgbClr val="00B050"/>
                </a:solidFill>
              </a:rPr>
              <a:t>Scatter Plot after ML </a:t>
            </a:r>
          </a:p>
          <a:p>
            <a:pPr algn="ctr"/>
            <a:r>
              <a:rPr lang="en-US" sz="1600">
                <a:solidFill>
                  <a:srgbClr val="00B050"/>
                </a:solidFill>
              </a:rPr>
              <a:t>model (</a:t>
            </a:r>
            <a:r>
              <a:rPr lang="en-US" sz="1600" u="sng">
                <a:solidFill>
                  <a:srgbClr val="00B050"/>
                </a:solidFill>
              </a:rPr>
              <a:t>test</a:t>
            </a:r>
            <a:r>
              <a:rPr lang="en-US" sz="1600">
                <a:solidFill>
                  <a:srgbClr val="00B050"/>
                </a:solidFill>
              </a:rPr>
              <a:t> set)</a:t>
            </a:r>
          </a:p>
        </p:txBody>
      </p:sp>
      <p:sp>
        <p:nvSpPr>
          <p:cNvPr id="2" name="Slide Number Placeholder 1">
            <a:extLst>
              <a:ext uri="{FF2B5EF4-FFF2-40B4-BE49-F238E27FC236}">
                <a16:creationId xmlns:a16="http://schemas.microsoft.com/office/drawing/2014/main" id="{D6F33AD6-BCD0-7BD2-5890-1C682DC785B4}"/>
              </a:ext>
            </a:extLst>
          </p:cNvPr>
          <p:cNvSpPr>
            <a:spLocks noGrp="1"/>
          </p:cNvSpPr>
          <p:nvPr>
            <p:ph type="sldNum" sz="quarter" idx="12"/>
          </p:nvPr>
        </p:nvSpPr>
        <p:spPr/>
        <p:txBody>
          <a:bodyPr/>
          <a:lstStyle/>
          <a:p>
            <a:fld id="{EEAD9179-7A6B-4268-BEB2-F3B8EB06115B}" type="slidenum">
              <a:rPr lang="en-US" noProof="0" smtClean="0"/>
              <a:t>19</a:t>
            </a:fld>
            <a:endParaRPr lang="en-US" noProof="0"/>
          </a:p>
        </p:txBody>
      </p:sp>
      <p:sp>
        <p:nvSpPr>
          <p:cNvPr id="5" name="TextBox 4">
            <a:extLst>
              <a:ext uri="{FF2B5EF4-FFF2-40B4-BE49-F238E27FC236}">
                <a16:creationId xmlns:a16="http://schemas.microsoft.com/office/drawing/2014/main" id="{BC1754F1-682A-BE94-E0A0-10CA6FA4AE0D}"/>
              </a:ext>
            </a:extLst>
          </p:cNvPr>
          <p:cNvSpPr txBox="1"/>
          <p:nvPr/>
        </p:nvSpPr>
        <p:spPr>
          <a:xfrm>
            <a:off x="768194" y="966722"/>
            <a:ext cx="10191565" cy="584775"/>
          </a:xfrm>
          <a:prstGeom prst="rect">
            <a:avLst/>
          </a:prstGeom>
          <a:noFill/>
        </p:spPr>
        <p:txBody>
          <a:bodyPr wrap="square" rtlCol="0">
            <a:spAutoFit/>
          </a:bodyPr>
          <a:lstStyle/>
          <a:p>
            <a:r>
              <a:rPr lang="en-US" sz="1600"/>
              <a:t>ML model performance for randomly selected dates from the test dataset shows better correlation between interpolated and observed </a:t>
            </a:r>
            <a:r>
              <a:rPr lang="en-US" sz="1600" u="sng"/>
              <a:t>Average Relative Humidity</a:t>
            </a:r>
            <a:r>
              <a:rPr lang="en-US" sz="1600"/>
              <a:t> data.</a:t>
            </a:r>
            <a:endParaRPr lang="en-US" sz="1600" baseline="30000"/>
          </a:p>
        </p:txBody>
      </p:sp>
      <p:pic>
        <p:nvPicPr>
          <p:cNvPr id="6" name="Picture 5">
            <a:extLst>
              <a:ext uri="{FF2B5EF4-FFF2-40B4-BE49-F238E27FC236}">
                <a16:creationId xmlns:a16="http://schemas.microsoft.com/office/drawing/2014/main" id="{5E2191B3-98E6-B694-F261-D599E1961C3A}"/>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7747155" y="1833199"/>
            <a:ext cx="3205289" cy="2468939"/>
          </a:xfrm>
          <a:prstGeom prst="rect">
            <a:avLst/>
          </a:prstGeom>
        </p:spPr>
      </p:pic>
      <p:pic>
        <p:nvPicPr>
          <p:cNvPr id="8" name="Picture 7">
            <a:extLst>
              <a:ext uri="{FF2B5EF4-FFF2-40B4-BE49-F238E27FC236}">
                <a16:creationId xmlns:a16="http://schemas.microsoft.com/office/drawing/2014/main" id="{B9E0931F-AF13-AB52-802B-BAF25FB5B5C6}"/>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7861074" y="4410128"/>
            <a:ext cx="2940838" cy="2278321"/>
          </a:xfrm>
          <a:prstGeom prst="rect">
            <a:avLst/>
          </a:prstGeom>
        </p:spPr>
      </p:pic>
      <p:sp>
        <p:nvSpPr>
          <p:cNvPr id="3" name="TextBox 2">
            <a:extLst>
              <a:ext uri="{FF2B5EF4-FFF2-40B4-BE49-F238E27FC236}">
                <a16:creationId xmlns:a16="http://schemas.microsoft.com/office/drawing/2014/main" id="{51005D58-E908-FD88-9D81-C64DF2EA80B8}"/>
              </a:ext>
            </a:extLst>
          </p:cNvPr>
          <p:cNvSpPr txBox="1"/>
          <p:nvPr/>
        </p:nvSpPr>
        <p:spPr>
          <a:xfrm>
            <a:off x="2241043" y="1990997"/>
            <a:ext cx="415265" cy="261610"/>
          </a:xfrm>
          <a:prstGeom prst="rect">
            <a:avLst/>
          </a:prstGeom>
          <a:solidFill>
            <a:schemeClr val="bg1"/>
          </a:solidFill>
        </p:spPr>
        <p:txBody>
          <a:bodyPr wrap="square" rtlCol="0">
            <a:spAutoFit/>
          </a:bodyPr>
          <a:lstStyle/>
          <a:p>
            <a:pPr algn="r"/>
            <a:r>
              <a:rPr lang="en-US" sz="1050" dirty="0"/>
              <a:t>R</a:t>
            </a:r>
            <a:r>
              <a:rPr lang="en-US" sz="1050" baseline="30000" dirty="0"/>
              <a:t>2</a:t>
            </a:r>
            <a:r>
              <a:rPr lang="en-US" sz="1050" dirty="0"/>
              <a:t>:</a:t>
            </a:r>
          </a:p>
        </p:txBody>
      </p:sp>
      <p:sp>
        <p:nvSpPr>
          <p:cNvPr id="10" name="TextBox 9">
            <a:extLst>
              <a:ext uri="{FF2B5EF4-FFF2-40B4-BE49-F238E27FC236}">
                <a16:creationId xmlns:a16="http://schemas.microsoft.com/office/drawing/2014/main" id="{9D932580-339A-37B0-F320-67B70D40500D}"/>
              </a:ext>
            </a:extLst>
          </p:cNvPr>
          <p:cNvSpPr txBox="1"/>
          <p:nvPr/>
        </p:nvSpPr>
        <p:spPr>
          <a:xfrm>
            <a:off x="2225802" y="4554184"/>
            <a:ext cx="415265" cy="261610"/>
          </a:xfrm>
          <a:prstGeom prst="rect">
            <a:avLst/>
          </a:prstGeom>
          <a:solidFill>
            <a:schemeClr val="bg1"/>
          </a:solidFill>
        </p:spPr>
        <p:txBody>
          <a:bodyPr wrap="square" rtlCol="0">
            <a:spAutoFit/>
          </a:bodyPr>
          <a:lstStyle/>
          <a:p>
            <a:pPr algn="r"/>
            <a:r>
              <a:rPr lang="en-US" sz="1050" dirty="0"/>
              <a:t>R</a:t>
            </a:r>
            <a:r>
              <a:rPr lang="en-US" sz="1050" baseline="30000" dirty="0"/>
              <a:t>2</a:t>
            </a:r>
            <a:r>
              <a:rPr lang="en-US" sz="1050" dirty="0"/>
              <a:t>:</a:t>
            </a:r>
          </a:p>
        </p:txBody>
      </p:sp>
      <p:sp>
        <p:nvSpPr>
          <p:cNvPr id="14" name="TextBox 13">
            <a:extLst>
              <a:ext uri="{FF2B5EF4-FFF2-40B4-BE49-F238E27FC236}">
                <a16:creationId xmlns:a16="http://schemas.microsoft.com/office/drawing/2014/main" id="{2416DFFF-9DB2-6452-E337-2741E2EE5981}"/>
              </a:ext>
            </a:extLst>
          </p:cNvPr>
          <p:cNvSpPr txBox="1"/>
          <p:nvPr/>
        </p:nvSpPr>
        <p:spPr>
          <a:xfrm>
            <a:off x="8154163" y="2029097"/>
            <a:ext cx="415265" cy="261610"/>
          </a:xfrm>
          <a:prstGeom prst="rect">
            <a:avLst/>
          </a:prstGeom>
          <a:solidFill>
            <a:schemeClr val="bg1"/>
          </a:solidFill>
        </p:spPr>
        <p:txBody>
          <a:bodyPr wrap="square" rtlCol="0">
            <a:spAutoFit/>
          </a:bodyPr>
          <a:lstStyle/>
          <a:p>
            <a:pPr algn="r"/>
            <a:r>
              <a:rPr lang="en-US" sz="1050" dirty="0"/>
              <a:t>R</a:t>
            </a:r>
            <a:r>
              <a:rPr lang="en-US" sz="1050" baseline="30000" dirty="0"/>
              <a:t>2</a:t>
            </a:r>
            <a:r>
              <a:rPr lang="en-US" sz="1050" dirty="0"/>
              <a:t>:</a:t>
            </a:r>
          </a:p>
        </p:txBody>
      </p:sp>
      <p:sp>
        <p:nvSpPr>
          <p:cNvPr id="17" name="TextBox 16">
            <a:extLst>
              <a:ext uri="{FF2B5EF4-FFF2-40B4-BE49-F238E27FC236}">
                <a16:creationId xmlns:a16="http://schemas.microsoft.com/office/drawing/2014/main" id="{4227057D-0654-D6FE-B8C4-8FCDAB06CA6C}"/>
              </a:ext>
            </a:extLst>
          </p:cNvPr>
          <p:cNvSpPr txBox="1"/>
          <p:nvPr/>
        </p:nvSpPr>
        <p:spPr>
          <a:xfrm>
            <a:off x="8244840" y="4568600"/>
            <a:ext cx="347448" cy="261610"/>
          </a:xfrm>
          <a:prstGeom prst="rect">
            <a:avLst/>
          </a:prstGeom>
          <a:solidFill>
            <a:schemeClr val="bg1"/>
          </a:solidFill>
        </p:spPr>
        <p:txBody>
          <a:bodyPr wrap="square" rtlCol="0">
            <a:spAutoFit/>
          </a:bodyPr>
          <a:lstStyle/>
          <a:p>
            <a:pPr algn="r"/>
            <a:r>
              <a:rPr lang="en-US" sz="1050" dirty="0"/>
              <a:t>R</a:t>
            </a:r>
            <a:r>
              <a:rPr lang="en-US" sz="1050" baseline="30000" dirty="0"/>
              <a:t>2</a:t>
            </a:r>
            <a:r>
              <a:rPr lang="en-US" sz="1050" dirty="0"/>
              <a:t>:</a:t>
            </a:r>
          </a:p>
        </p:txBody>
      </p:sp>
    </p:spTree>
    <p:extLst>
      <p:ext uri="{BB962C8B-B14F-4D97-AF65-F5344CB8AC3E}">
        <p14:creationId xmlns:p14="http://schemas.microsoft.com/office/powerpoint/2010/main" val="12033334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1000"/>
                                        <p:tgtEl>
                                          <p:spTgt spid="24"/>
                                        </p:tgtEl>
                                      </p:cBhvr>
                                    </p:animEffect>
                                    <p:anim calcmode="lin" valueType="num">
                                      <p:cBhvr>
                                        <p:cTn id="8" dur="1000" fill="hold"/>
                                        <p:tgtEl>
                                          <p:spTgt spid="24"/>
                                        </p:tgtEl>
                                        <p:attrNameLst>
                                          <p:attrName>ppt_x</p:attrName>
                                        </p:attrNameLst>
                                      </p:cBhvr>
                                      <p:tavLst>
                                        <p:tav tm="0">
                                          <p:val>
                                            <p:strVal val="#ppt_x"/>
                                          </p:val>
                                        </p:tav>
                                        <p:tav tm="100000">
                                          <p:val>
                                            <p:strVal val="#ppt_x"/>
                                          </p:val>
                                        </p:tav>
                                      </p:tavLst>
                                    </p:anim>
                                    <p:anim calcmode="lin" valueType="num">
                                      <p:cBhvr>
                                        <p:cTn id="9" dur="1000" fill="hold"/>
                                        <p:tgtEl>
                                          <p:spTgt spid="2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1000"/>
                                        <p:tgtEl>
                                          <p:spTgt spid="16"/>
                                        </p:tgtEl>
                                      </p:cBhvr>
                                    </p:animEffect>
                                    <p:anim calcmode="lin" valueType="num">
                                      <p:cBhvr>
                                        <p:cTn id="13" dur="1000" fill="hold"/>
                                        <p:tgtEl>
                                          <p:spTgt spid="16"/>
                                        </p:tgtEl>
                                        <p:attrNameLst>
                                          <p:attrName>ppt_x</p:attrName>
                                        </p:attrNameLst>
                                      </p:cBhvr>
                                      <p:tavLst>
                                        <p:tav tm="0">
                                          <p:val>
                                            <p:strVal val="#ppt_x"/>
                                          </p:val>
                                        </p:tav>
                                        <p:tav tm="100000">
                                          <p:val>
                                            <p:strVal val="#ppt_x"/>
                                          </p:val>
                                        </p:tav>
                                      </p:tavLst>
                                    </p:anim>
                                    <p:anim calcmode="lin" valueType="num">
                                      <p:cBhvr>
                                        <p:cTn id="14" dur="1000" fill="hold"/>
                                        <p:tgtEl>
                                          <p:spTgt spid="16"/>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1000"/>
                                        <p:tgtEl>
                                          <p:spTgt spid="6"/>
                                        </p:tgtEl>
                                      </p:cBhvr>
                                    </p:animEffect>
                                    <p:anim calcmode="lin" valueType="num">
                                      <p:cBhvr>
                                        <p:cTn id="18" dur="1000" fill="hold"/>
                                        <p:tgtEl>
                                          <p:spTgt spid="6"/>
                                        </p:tgtEl>
                                        <p:attrNameLst>
                                          <p:attrName>ppt_x</p:attrName>
                                        </p:attrNameLst>
                                      </p:cBhvr>
                                      <p:tavLst>
                                        <p:tav tm="0">
                                          <p:val>
                                            <p:strVal val="#ppt_x"/>
                                          </p:val>
                                        </p:tav>
                                        <p:tav tm="100000">
                                          <p:val>
                                            <p:strVal val="#ppt_x"/>
                                          </p:val>
                                        </p:tav>
                                      </p:tavLst>
                                    </p:anim>
                                    <p:anim calcmode="lin" valueType="num">
                                      <p:cBhvr>
                                        <p:cTn id="19" dur="1000" fill="hold"/>
                                        <p:tgtEl>
                                          <p:spTgt spid="6"/>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1000"/>
                                        <p:tgtEl>
                                          <p:spTgt spid="8"/>
                                        </p:tgtEl>
                                      </p:cBhvr>
                                    </p:animEffect>
                                    <p:anim calcmode="lin" valueType="num">
                                      <p:cBhvr>
                                        <p:cTn id="23" dur="1000" fill="hold"/>
                                        <p:tgtEl>
                                          <p:spTgt spid="8"/>
                                        </p:tgtEl>
                                        <p:attrNameLst>
                                          <p:attrName>ppt_x</p:attrName>
                                        </p:attrNameLst>
                                      </p:cBhvr>
                                      <p:tavLst>
                                        <p:tav tm="0">
                                          <p:val>
                                            <p:strVal val="#ppt_x"/>
                                          </p:val>
                                        </p:tav>
                                        <p:tav tm="100000">
                                          <p:val>
                                            <p:strVal val="#ppt_x"/>
                                          </p:val>
                                        </p:tav>
                                      </p:tavLst>
                                    </p:anim>
                                    <p:anim calcmode="lin" valueType="num">
                                      <p:cBhvr>
                                        <p:cTn id="24" dur="1000" fill="hold"/>
                                        <p:tgtEl>
                                          <p:spTgt spid="8"/>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1000"/>
                                        <p:tgtEl>
                                          <p:spTgt spid="15"/>
                                        </p:tgtEl>
                                      </p:cBhvr>
                                    </p:animEffect>
                                    <p:anim calcmode="lin" valueType="num">
                                      <p:cBhvr>
                                        <p:cTn id="28" dur="1000" fill="hold"/>
                                        <p:tgtEl>
                                          <p:spTgt spid="15"/>
                                        </p:tgtEl>
                                        <p:attrNameLst>
                                          <p:attrName>ppt_x</p:attrName>
                                        </p:attrNameLst>
                                      </p:cBhvr>
                                      <p:tavLst>
                                        <p:tav tm="0">
                                          <p:val>
                                            <p:strVal val="#ppt_x"/>
                                          </p:val>
                                        </p:tav>
                                        <p:tav tm="100000">
                                          <p:val>
                                            <p:strVal val="#ppt_x"/>
                                          </p:val>
                                        </p:tav>
                                      </p:tavLst>
                                    </p:anim>
                                    <p:anim calcmode="lin" valueType="num">
                                      <p:cBhvr>
                                        <p:cTn id="29" dur="1000" fill="hold"/>
                                        <p:tgtEl>
                                          <p:spTgt spid="15"/>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1000"/>
                                        <p:tgtEl>
                                          <p:spTgt spid="17"/>
                                        </p:tgtEl>
                                      </p:cBhvr>
                                    </p:animEffect>
                                    <p:anim calcmode="lin" valueType="num">
                                      <p:cBhvr>
                                        <p:cTn id="33" dur="1000" fill="hold"/>
                                        <p:tgtEl>
                                          <p:spTgt spid="17"/>
                                        </p:tgtEl>
                                        <p:attrNameLst>
                                          <p:attrName>ppt_x</p:attrName>
                                        </p:attrNameLst>
                                      </p:cBhvr>
                                      <p:tavLst>
                                        <p:tav tm="0">
                                          <p:val>
                                            <p:strVal val="#ppt_x"/>
                                          </p:val>
                                        </p:tav>
                                        <p:tav tm="100000">
                                          <p:val>
                                            <p:strVal val="#ppt_x"/>
                                          </p:val>
                                        </p:tav>
                                      </p:tavLst>
                                    </p:anim>
                                    <p:anim calcmode="lin" valueType="num">
                                      <p:cBhvr>
                                        <p:cTn id="34" dur="1000" fill="hold"/>
                                        <p:tgtEl>
                                          <p:spTgt spid="17"/>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14"/>
                                        </p:tgtEl>
                                        <p:attrNameLst>
                                          <p:attrName>style.visibility</p:attrName>
                                        </p:attrNameLst>
                                      </p:cBhvr>
                                      <p:to>
                                        <p:strVal val="visible"/>
                                      </p:to>
                                    </p:set>
                                    <p:animEffect transition="in" filter="fade">
                                      <p:cBhvr>
                                        <p:cTn id="37" dur="1000"/>
                                        <p:tgtEl>
                                          <p:spTgt spid="14"/>
                                        </p:tgtEl>
                                      </p:cBhvr>
                                    </p:animEffect>
                                    <p:anim calcmode="lin" valueType="num">
                                      <p:cBhvr>
                                        <p:cTn id="38" dur="1000" fill="hold"/>
                                        <p:tgtEl>
                                          <p:spTgt spid="14"/>
                                        </p:tgtEl>
                                        <p:attrNameLst>
                                          <p:attrName>ppt_x</p:attrName>
                                        </p:attrNameLst>
                                      </p:cBhvr>
                                      <p:tavLst>
                                        <p:tav tm="0">
                                          <p:val>
                                            <p:strVal val="#ppt_x"/>
                                          </p:val>
                                        </p:tav>
                                        <p:tav tm="100000">
                                          <p:val>
                                            <p:strVal val="#ppt_x"/>
                                          </p:val>
                                        </p:tav>
                                      </p:tavLst>
                                    </p:anim>
                                    <p:anim calcmode="lin" valueType="num">
                                      <p:cBhvr>
                                        <p:cTn id="39"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14" grpId="0" animBg="1"/>
      <p:bldP spid="1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1037438" y="443283"/>
            <a:ext cx="9144000" cy="7316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i="1" u="sng">
                <a:solidFill>
                  <a:schemeClr val="accent1">
                    <a:lumMod val="50000"/>
                  </a:schemeClr>
                </a:solidFill>
                <a:latin typeface="Calibri Light" panose="020F0302020204030204" pitchFamily="34" charset="0"/>
              </a:rPr>
              <a:t>About Myself</a:t>
            </a:r>
            <a:endParaRPr lang="en-US" sz="4000" i="1" u="sng">
              <a:solidFill>
                <a:schemeClr val="accent1">
                  <a:lumMod val="50000"/>
                </a:schemeClr>
              </a:solidFill>
            </a:endParaRPr>
          </a:p>
        </p:txBody>
      </p:sp>
      <p:sp>
        <p:nvSpPr>
          <p:cNvPr id="10" name="Subtitle 2">
            <a:extLst>
              <a:ext uri="{FF2B5EF4-FFF2-40B4-BE49-F238E27FC236}">
                <a16:creationId xmlns:a16="http://schemas.microsoft.com/office/drawing/2014/main" id="{F6E243F7-F258-1A63-610D-FF7CD8668613}"/>
              </a:ext>
            </a:extLst>
          </p:cNvPr>
          <p:cNvSpPr txBox="1">
            <a:spLocks/>
          </p:cNvSpPr>
          <p:nvPr/>
        </p:nvSpPr>
        <p:spPr>
          <a:xfrm>
            <a:off x="1037439" y="1174887"/>
            <a:ext cx="5268112" cy="4197213"/>
          </a:xfrm>
          <a:prstGeom prst="rect">
            <a:avLst/>
          </a:prstGeom>
        </p:spPr>
        <p:txBody>
          <a:bodyPr>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a:t>Md Fahim Hasan</a:t>
            </a:r>
          </a:p>
          <a:p>
            <a:pPr marL="0" indent="0">
              <a:buNone/>
            </a:pPr>
            <a:r>
              <a:rPr lang="en-US" sz="1800" i="1"/>
              <a:t>goes by </a:t>
            </a:r>
            <a:r>
              <a:rPr lang="en-US" sz="1800" b="1" i="1"/>
              <a:t>Fahim</a:t>
            </a:r>
          </a:p>
          <a:p>
            <a:pPr marL="0" indent="0">
              <a:buNone/>
            </a:pPr>
            <a:endParaRPr lang="en-US" sz="1800"/>
          </a:p>
          <a:p>
            <a:pPr marL="0" indent="0">
              <a:buNone/>
            </a:pPr>
            <a:r>
              <a:rPr lang="en-US" sz="1800"/>
              <a:t>PhD Student (1</a:t>
            </a:r>
            <a:r>
              <a:rPr lang="en-US" sz="1800" baseline="30000"/>
              <a:t>st</a:t>
            </a:r>
            <a:r>
              <a:rPr lang="en-US" sz="1800"/>
              <a:t> year)</a:t>
            </a:r>
          </a:p>
          <a:p>
            <a:pPr marL="0" indent="0">
              <a:buNone/>
            </a:pPr>
            <a:r>
              <a:rPr lang="en-US" sz="1800"/>
              <a:t>Department of Civil Engineering</a:t>
            </a:r>
          </a:p>
          <a:p>
            <a:pPr marL="0" indent="0">
              <a:buNone/>
            </a:pPr>
            <a:r>
              <a:rPr lang="en-US" sz="1800"/>
              <a:t>Colorado State University</a:t>
            </a:r>
          </a:p>
          <a:p>
            <a:pPr marL="0" indent="0">
              <a:buNone/>
            </a:pPr>
            <a:endParaRPr lang="en-US" sz="1800" b="1"/>
          </a:p>
          <a:p>
            <a:pPr marL="0" indent="0">
              <a:buNone/>
            </a:pPr>
            <a:r>
              <a:rPr lang="en-US" sz="1800" b="1"/>
              <a:t>Research Focus:</a:t>
            </a:r>
          </a:p>
          <a:p>
            <a:pPr>
              <a:buFont typeface="Wingdings" panose="05000000000000000000" pitchFamily="2" charset="2"/>
              <a:buChar char="§"/>
            </a:pPr>
            <a:r>
              <a:rPr lang="en-US" sz="1800"/>
              <a:t>irrigation</a:t>
            </a:r>
            <a:r>
              <a:rPr lang="en-US" sz="1800" b="1"/>
              <a:t> </a:t>
            </a:r>
            <a:r>
              <a:rPr lang="en-US" sz="1800"/>
              <a:t>groundwater</a:t>
            </a:r>
            <a:r>
              <a:rPr lang="en-US" sz="1800" b="1"/>
              <a:t> </a:t>
            </a:r>
            <a:r>
              <a:rPr lang="en-US" sz="1800"/>
              <a:t>quantification/monitoring </a:t>
            </a:r>
          </a:p>
          <a:p>
            <a:pPr lvl="1">
              <a:buFont typeface="Courier New" panose="02070309020205020404" pitchFamily="49" charset="0"/>
              <a:buChar char="o"/>
            </a:pPr>
            <a:r>
              <a:rPr lang="en-US" sz="1900" u="sng"/>
              <a:t>satellite, weather</a:t>
            </a:r>
            <a:r>
              <a:rPr lang="en-US" sz="1900"/>
              <a:t>, in-situ data</a:t>
            </a:r>
          </a:p>
          <a:p>
            <a:pPr lvl="1">
              <a:buFont typeface="Courier New" panose="02070309020205020404" pitchFamily="49" charset="0"/>
              <a:buChar char="o"/>
            </a:pPr>
            <a:r>
              <a:rPr lang="en-US" sz="1900" u="sng"/>
              <a:t>machine/deep learning</a:t>
            </a:r>
            <a:endParaRPr lang="en-US" sz="1900" b="1" u="sng"/>
          </a:p>
          <a:p>
            <a:pPr>
              <a:buFont typeface="Wingdings" panose="05000000000000000000" pitchFamily="2" charset="2"/>
              <a:buChar char="§"/>
            </a:pPr>
            <a:r>
              <a:rPr lang="en-US" sz="1800"/>
              <a:t>Groundwater modeling using processed-based models</a:t>
            </a:r>
          </a:p>
        </p:txBody>
      </p:sp>
      <p:pic>
        <p:nvPicPr>
          <p:cNvPr id="11" name="Picture 10" descr="A person in a green jacket&#10;&#10;Description automatically generated">
            <a:extLst>
              <a:ext uri="{FF2B5EF4-FFF2-40B4-BE49-F238E27FC236}">
                <a16:creationId xmlns:a16="http://schemas.microsoft.com/office/drawing/2014/main" id="{C71F36C9-62E2-BE13-D383-44EC0D0F1953}"/>
              </a:ext>
            </a:extLst>
          </p:cNvPr>
          <p:cNvPicPr>
            <a:picLocks noChangeAspect="1"/>
          </p:cNvPicPr>
          <p:nvPr/>
        </p:nvPicPr>
        <p:blipFill rotWithShape="1">
          <a:blip r:embed="rId2">
            <a:extLst>
              <a:ext uri="{28A0092B-C50C-407E-A947-70E740481C1C}">
                <a14:useLocalDpi xmlns:a14="http://schemas.microsoft.com/office/drawing/2010/main" val="0"/>
              </a:ext>
            </a:extLst>
          </a:blip>
          <a:srcRect l="7491" b="26123"/>
          <a:stretch/>
        </p:blipFill>
        <p:spPr>
          <a:xfrm>
            <a:off x="7043089" y="857184"/>
            <a:ext cx="4035197" cy="4296649"/>
          </a:xfrm>
          <a:prstGeom prst="rect">
            <a:avLst/>
          </a:prstGeom>
        </p:spPr>
      </p:pic>
      <p:sp>
        <p:nvSpPr>
          <p:cNvPr id="12" name="Subtitle 2">
            <a:extLst>
              <a:ext uri="{FF2B5EF4-FFF2-40B4-BE49-F238E27FC236}">
                <a16:creationId xmlns:a16="http://schemas.microsoft.com/office/drawing/2014/main" id="{4B44160A-35FD-F0D1-8CB5-8BC0B618E421}"/>
              </a:ext>
            </a:extLst>
          </p:cNvPr>
          <p:cNvSpPr txBox="1">
            <a:spLocks/>
          </p:cNvSpPr>
          <p:nvPr/>
        </p:nvSpPr>
        <p:spPr>
          <a:xfrm>
            <a:off x="7043089" y="5306714"/>
            <a:ext cx="2473746" cy="874463"/>
          </a:xfrm>
          <a:prstGeom prst="rect">
            <a:avLst/>
          </a:prstGeom>
          <a:ln>
            <a:solidFill>
              <a:schemeClr val="tx1"/>
            </a:solidFill>
            <a:prstDash val="dash"/>
          </a:ln>
        </p:spPr>
        <p:txBody>
          <a:bodyPr vert="horz" lIns="91440" tIns="45720" rIns="91440" bIns="45720" rtlCol="0">
            <a:normAutofit fontScale="85000" lnSpcReduction="2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2000" b="1" i="1">
                <a:solidFill>
                  <a:schemeClr val="accent1">
                    <a:lumMod val="50000"/>
                  </a:schemeClr>
                </a:solidFill>
              </a:rPr>
              <a:t>At Bayer</a:t>
            </a:r>
            <a:endParaRPr lang="en-US" sz="1800" b="1" i="1">
              <a:solidFill>
                <a:schemeClr val="accent1">
                  <a:lumMod val="50000"/>
                </a:schemeClr>
              </a:solidFill>
            </a:endParaRPr>
          </a:p>
          <a:p>
            <a:r>
              <a:rPr lang="en-US" sz="1800"/>
              <a:t>Vegetable R&amp;D APD Intern</a:t>
            </a:r>
          </a:p>
          <a:p>
            <a:r>
              <a:rPr lang="en-US" sz="1800"/>
              <a:t>Global Digital Phenotyping </a:t>
            </a:r>
          </a:p>
        </p:txBody>
      </p:sp>
      <p:sp>
        <p:nvSpPr>
          <p:cNvPr id="2" name="Slide Number Placeholder 1">
            <a:extLst>
              <a:ext uri="{FF2B5EF4-FFF2-40B4-BE49-F238E27FC236}">
                <a16:creationId xmlns:a16="http://schemas.microsoft.com/office/drawing/2014/main" id="{9226B3AE-7380-1F6C-697A-E9637435E60D}"/>
              </a:ext>
            </a:extLst>
          </p:cNvPr>
          <p:cNvSpPr>
            <a:spLocks noGrp="1"/>
          </p:cNvSpPr>
          <p:nvPr>
            <p:ph type="sldNum" sz="quarter" idx="12"/>
          </p:nvPr>
        </p:nvSpPr>
        <p:spPr/>
        <p:txBody>
          <a:bodyPr/>
          <a:lstStyle/>
          <a:p>
            <a:fld id="{EEAD9179-7A6B-4268-BEB2-F3B8EB06115B}" type="slidenum">
              <a:rPr lang="en-US" noProof="0" smtClean="0"/>
              <a:t>2</a:t>
            </a:fld>
            <a:endParaRPr lang="en-US" noProof="0"/>
          </a:p>
        </p:txBody>
      </p:sp>
      <p:sp>
        <p:nvSpPr>
          <p:cNvPr id="4" name="Subtitle 2">
            <a:extLst>
              <a:ext uri="{FF2B5EF4-FFF2-40B4-BE49-F238E27FC236}">
                <a16:creationId xmlns:a16="http://schemas.microsoft.com/office/drawing/2014/main" id="{FD0EF38E-D7C0-8E63-A04B-1205873730B2}"/>
              </a:ext>
            </a:extLst>
          </p:cNvPr>
          <p:cNvSpPr txBox="1">
            <a:spLocks/>
          </p:cNvSpPr>
          <p:nvPr/>
        </p:nvSpPr>
        <p:spPr>
          <a:xfrm>
            <a:off x="1037438" y="5720854"/>
            <a:ext cx="5949288" cy="87446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i="1">
                <a:solidFill>
                  <a:schemeClr val="accent5">
                    <a:lumMod val="75000"/>
                  </a:schemeClr>
                </a:solidFill>
              </a:rPr>
              <a:t>Hobbies: Travel, Soccer, Socializing, Cleaning.</a:t>
            </a:r>
          </a:p>
          <a:p>
            <a:pPr marL="0" indent="0">
              <a:buNone/>
            </a:pPr>
            <a:r>
              <a:rPr lang="en-US" sz="1800" i="1">
                <a:solidFill>
                  <a:schemeClr val="accent5">
                    <a:lumMod val="75000"/>
                  </a:schemeClr>
                </a:solidFill>
              </a:rPr>
              <a:t>Obsessed about: Star Wars, Harry Potter, Action/Sci-fi</a:t>
            </a:r>
            <a:endParaRPr lang="en-US" sz="1600" i="1">
              <a:solidFill>
                <a:schemeClr val="accent5">
                  <a:lumMod val="75000"/>
                </a:schemeClr>
              </a:solidFill>
            </a:endParaRPr>
          </a:p>
        </p:txBody>
      </p:sp>
      <p:pic>
        <p:nvPicPr>
          <p:cNvPr id="8" name="Picture 7" descr="A qr code on a white background&#10;&#10;Description automatically generated">
            <a:extLst>
              <a:ext uri="{FF2B5EF4-FFF2-40B4-BE49-F238E27FC236}">
                <a16:creationId xmlns:a16="http://schemas.microsoft.com/office/drawing/2014/main" id="{92A438D3-297D-DDD8-9B6E-2B42DB4D6F6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15281" y="5174306"/>
            <a:ext cx="1139280" cy="1139280"/>
          </a:xfrm>
          <a:prstGeom prst="rect">
            <a:avLst/>
          </a:prstGeom>
        </p:spPr>
      </p:pic>
      <p:sp>
        <p:nvSpPr>
          <p:cNvPr id="13" name="TextBox 12">
            <a:extLst>
              <a:ext uri="{FF2B5EF4-FFF2-40B4-BE49-F238E27FC236}">
                <a16:creationId xmlns:a16="http://schemas.microsoft.com/office/drawing/2014/main" id="{D2E8F959-A480-C597-DD32-378E99CD7A2C}"/>
              </a:ext>
            </a:extLst>
          </p:cNvPr>
          <p:cNvSpPr txBox="1"/>
          <p:nvPr/>
        </p:nvSpPr>
        <p:spPr>
          <a:xfrm>
            <a:off x="9841971" y="6149393"/>
            <a:ext cx="1485900" cy="369332"/>
          </a:xfrm>
          <a:prstGeom prst="rect">
            <a:avLst/>
          </a:prstGeom>
          <a:noFill/>
        </p:spPr>
        <p:txBody>
          <a:bodyPr wrap="square" rtlCol="0">
            <a:spAutoFit/>
          </a:bodyPr>
          <a:lstStyle/>
          <a:p>
            <a:pPr algn="ctr"/>
            <a:r>
              <a:rPr lang="en-US" err="1">
                <a:solidFill>
                  <a:srgbClr val="0070C0"/>
                </a:solidFill>
              </a:rPr>
              <a:t>LinkedIN</a:t>
            </a:r>
            <a:endParaRPr lang="en-US">
              <a:solidFill>
                <a:srgbClr val="0070C0"/>
              </a:solidFill>
            </a:endParaRPr>
          </a:p>
        </p:txBody>
      </p:sp>
    </p:spTree>
    <p:extLst>
      <p:ext uri="{BB962C8B-B14F-4D97-AF65-F5344CB8AC3E}">
        <p14:creationId xmlns:p14="http://schemas.microsoft.com/office/powerpoint/2010/main" val="40567196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768194" y="289742"/>
            <a:ext cx="9144000" cy="731604"/>
          </a:xfrm>
          <a:prstGeom prst="rect">
            <a:avLst/>
          </a:prstGeom>
        </p:spPr>
        <p:txBody>
          <a:bodyPr vert="horz" lIns="91440" tIns="45720" rIns="91440" bIns="45720" rtlCol="0" anchor="ctr">
            <a:normAutofit fontScale="92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i="1" u="sng">
                <a:solidFill>
                  <a:schemeClr val="accent1">
                    <a:lumMod val="50000"/>
                  </a:schemeClr>
                </a:solidFill>
                <a:latin typeface="Calibri Light" panose="020F0302020204030204" pitchFamily="34" charset="0"/>
              </a:rPr>
              <a:t>ML Model Results : </a:t>
            </a:r>
            <a:r>
              <a:rPr lang="en-US" sz="4000" b="1" i="1" u="sng">
                <a:solidFill>
                  <a:schemeClr val="accent1">
                    <a:lumMod val="50000"/>
                  </a:schemeClr>
                </a:solidFill>
                <a:latin typeface="Calibri Light" panose="020F0302020204030204" pitchFamily="34" charset="0"/>
              </a:rPr>
              <a:t>Average Relative Humidity</a:t>
            </a:r>
            <a:endParaRPr lang="en-US" sz="4000" b="1" i="1" u="sng">
              <a:solidFill>
                <a:schemeClr val="accent1">
                  <a:lumMod val="50000"/>
                </a:schemeClr>
              </a:solidFill>
            </a:endParaRPr>
          </a:p>
        </p:txBody>
      </p:sp>
      <p:pic>
        <p:nvPicPr>
          <p:cNvPr id="5" name="Picture 4">
            <a:extLst>
              <a:ext uri="{FF2B5EF4-FFF2-40B4-BE49-F238E27FC236}">
                <a16:creationId xmlns:a16="http://schemas.microsoft.com/office/drawing/2014/main" id="{FFB1E75E-CD71-507C-BB0A-BE0ACF1CB6F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334254" y="1900000"/>
            <a:ext cx="5807578" cy="4298926"/>
          </a:xfrm>
          <a:prstGeom prst="rect">
            <a:avLst/>
          </a:prstGeom>
        </p:spPr>
      </p:pic>
      <p:sp>
        <p:nvSpPr>
          <p:cNvPr id="8" name="Slide Number Placeholder 7">
            <a:extLst>
              <a:ext uri="{FF2B5EF4-FFF2-40B4-BE49-F238E27FC236}">
                <a16:creationId xmlns:a16="http://schemas.microsoft.com/office/drawing/2014/main" id="{F7121A09-0EC1-9B80-94A4-5E900DAED457}"/>
              </a:ext>
            </a:extLst>
          </p:cNvPr>
          <p:cNvSpPr>
            <a:spLocks noGrp="1"/>
          </p:cNvSpPr>
          <p:nvPr>
            <p:ph type="sldNum" sz="quarter" idx="12"/>
          </p:nvPr>
        </p:nvSpPr>
        <p:spPr/>
        <p:txBody>
          <a:bodyPr/>
          <a:lstStyle/>
          <a:p>
            <a:fld id="{EEAD9179-7A6B-4268-BEB2-F3B8EB06115B}" type="slidenum">
              <a:rPr lang="en-US" smtClean="0"/>
              <a:pPr/>
              <a:t>20</a:t>
            </a:fld>
            <a:endParaRPr lang="en-US"/>
          </a:p>
        </p:txBody>
      </p:sp>
      <p:sp>
        <p:nvSpPr>
          <p:cNvPr id="2" name="TextBox 1">
            <a:extLst>
              <a:ext uri="{FF2B5EF4-FFF2-40B4-BE49-F238E27FC236}">
                <a16:creationId xmlns:a16="http://schemas.microsoft.com/office/drawing/2014/main" id="{4F12E48C-FEAB-6C41-9C4F-9F5339F51EE2}"/>
              </a:ext>
            </a:extLst>
          </p:cNvPr>
          <p:cNvSpPr txBox="1"/>
          <p:nvPr/>
        </p:nvSpPr>
        <p:spPr>
          <a:xfrm>
            <a:off x="768194" y="1058022"/>
            <a:ext cx="10562672" cy="369332"/>
          </a:xfrm>
          <a:prstGeom prst="rect">
            <a:avLst/>
          </a:prstGeom>
          <a:noFill/>
        </p:spPr>
        <p:txBody>
          <a:bodyPr wrap="square" rtlCol="0">
            <a:spAutoFit/>
          </a:bodyPr>
          <a:lstStyle/>
          <a:p>
            <a:r>
              <a:rPr lang="en-US"/>
              <a:t>Overall, ML model performance is satisfactory for daily </a:t>
            </a:r>
            <a:r>
              <a:rPr lang="en-US" u="sng"/>
              <a:t>Average Relative Humidity</a:t>
            </a:r>
            <a:r>
              <a:rPr lang="en-US"/>
              <a:t> datasets in the </a:t>
            </a:r>
            <a:r>
              <a:rPr lang="en-US" u="sng"/>
              <a:t>test set</a:t>
            </a:r>
            <a:r>
              <a:rPr lang="en-US"/>
              <a:t>.</a:t>
            </a:r>
          </a:p>
        </p:txBody>
      </p:sp>
      <p:sp>
        <p:nvSpPr>
          <p:cNvPr id="3" name="TextBox 2">
            <a:extLst>
              <a:ext uri="{FF2B5EF4-FFF2-40B4-BE49-F238E27FC236}">
                <a16:creationId xmlns:a16="http://schemas.microsoft.com/office/drawing/2014/main" id="{6EF2534A-6427-DD43-A57B-D7EDEEA6901D}"/>
              </a:ext>
            </a:extLst>
          </p:cNvPr>
          <p:cNvSpPr txBox="1"/>
          <p:nvPr/>
        </p:nvSpPr>
        <p:spPr>
          <a:xfrm>
            <a:off x="3219590" y="6161584"/>
            <a:ext cx="6036906" cy="646331"/>
          </a:xfrm>
          <a:prstGeom prst="rect">
            <a:avLst/>
          </a:prstGeom>
          <a:noFill/>
        </p:spPr>
        <p:txBody>
          <a:bodyPr wrap="square" rtlCol="0">
            <a:spAutoFit/>
          </a:bodyPr>
          <a:lstStyle/>
          <a:p>
            <a:pPr algn="ctr"/>
            <a:r>
              <a:rPr lang="en-US" b="1">
                <a:solidFill>
                  <a:schemeClr val="accent6">
                    <a:lumMod val="75000"/>
                  </a:schemeClr>
                </a:solidFill>
              </a:rPr>
              <a:t>R</a:t>
            </a:r>
            <a:r>
              <a:rPr lang="en-US" b="1" baseline="30000">
                <a:solidFill>
                  <a:schemeClr val="accent6">
                    <a:lumMod val="75000"/>
                  </a:schemeClr>
                </a:solidFill>
              </a:rPr>
              <a:t>2</a:t>
            </a:r>
            <a:r>
              <a:rPr lang="en-US" b="1">
                <a:solidFill>
                  <a:schemeClr val="accent6">
                    <a:lumMod val="75000"/>
                  </a:schemeClr>
                </a:solidFill>
              </a:rPr>
              <a:t> comparison Before and After Applying ML Model </a:t>
            </a:r>
            <a:r>
              <a:rPr lang="en-US" b="1" u="sng">
                <a:solidFill>
                  <a:schemeClr val="accent6">
                    <a:lumMod val="75000"/>
                  </a:schemeClr>
                </a:solidFill>
              </a:rPr>
              <a:t>for days in Test Dataset </a:t>
            </a:r>
            <a:endParaRPr lang="en-US" b="1">
              <a:solidFill>
                <a:schemeClr val="accent6">
                  <a:lumMod val="75000"/>
                </a:schemeClr>
              </a:solidFill>
            </a:endParaRPr>
          </a:p>
        </p:txBody>
      </p:sp>
      <p:sp>
        <p:nvSpPr>
          <p:cNvPr id="4" name="TextBox 3">
            <a:extLst>
              <a:ext uri="{FF2B5EF4-FFF2-40B4-BE49-F238E27FC236}">
                <a16:creationId xmlns:a16="http://schemas.microsoft.com/office/drawing/2014/main" id="{567C13A3-8F58-C44F-5F8E-F6795BD086F9}"/>
              </a:ext>
            </a:extLst>
          </p:cNvPr>
          <p:cNvSpPr txBox="1"/>
          <p:nvPr/>
        </p:nvSpPr>
        <p:spPr>
          <a:xfrm rot="16200000">
            <a:off x="3126622" y="3728060"/>
            <a:ext cx="415265" cy="338554"/>
          </a:xfrm>
          <a:prstGeom prst="rect">
            <a:avLst/>
          </a:prstGeom>
          <a:solidFill>
            <a:schemeClr val="bg1"/>
          </a:solidFill>
        </p:spPr>
        <p:txBody>
          <a:bodyPr wrap="square" rtlCol="0">
            <a:spAutoFit/>
          </a:bodyPr>
          <a:lstStyle/>
          <a:p>
            <a:pPr algn="r"/>
            <a:r>
              <a:rPr lang="en-US" sz="1600" dirty="0"/>
              <a:t>R</a:t>
            </a:r>
            <a:r>
              <a:rPr lang="en-US" sz="1600" baseline="30000" dirty="0"/>
              <a:t>2</a:t>
            </a:r>
            <a:endParaRPr lang="en-US" sz="1600" dirty="0"/>
          </a:p>
        </p:txBody>
      </p:sp>
    </p:spTree>
    <p:extLst>
      <p:ext uri="{BB962C8B-B14F-4D97-AF65-F5344CB8AC3E}">
        <p14:creationId xmlns:p14="http://schemas.microsoft.com/office/powerpoint/2010/main" val="22948865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814664" y="226195"/>
            <a:ext cx="10562672" cy="113808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200" i="1" u="sng">
                <a:solidFill>
                  <a:schemeClr val="accent1">
                    <a:lumMod val="50000"/>
                  </a:schemeClr>
                </a:solidFill>
                <a:latin typeface="Calibri Light" panose="020F0302020204030204" pitchFamily="34" charset="0"/>
              </a:rPr>
              <a:t>Mapping Source and Modeled Data : </a:t>
            </a:r>
            <a:r>
              <a:rPr lang="en-US" sz="3200" b="1" i="1" u="sng">
                <a:solidFill>
                  <a:schemeClr val="accent1">
                    <a:lumMod val="50000"/>
                  </a:schemeClr>
                </a:solidFill>
                <a:latin typeface="Calibri Light" panose="020F0302020204030204" pitchFamily="34" charset="0"/>
              </a:rPr>
              <a:t>Average Relative Humidity</a:t>
            </a:r>
            <a:r>
              <a:rPr lang="en-US" sz="3200" i="1" u="sng">
                <a:solidFill>
                  <a:schemeClr val="accent1">
                    <a:lumMod val="50000"/>
                  </a:schemeClr>
                </a:solidFill>
                <a:latin typeface="Calibri Light" panose="020F0302020204030204" pitchFamily="34" charset="0"/>
              </a:rPr>
              <a:t>  </a:t>
            </a:r>
            <a:endParaRPr lang="en-US" sz="3200" b="1" i="1" u="sng">
              <a:solidFill>
                <a:schemeClr val="accent1">
                  <a:lumMod val="50000"/>
                </a:schemeClr>
              </a:solidFill>
            </a:endParaRPr>
          </a:p>
        </p:txBody>
      </p:sp>
      <p:pic>
        <p:nvPicPr>
          <p:cNvPr id="3" name="Picture 2" descr="A screenshot of datas&#10;&#10;Description automatically generated">
            <a:extLst>
              <a:ext uri="{FF2B5EF4-FFF2-40B4-BE49-F238E27FC236}">
                <a16:creationId xmlns:a16="http://schemas.microsoft.com/office/drawing/2014/main" id="{16BBEA49-B7C7-2619-44DA-70CDEE7990C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53906" y="2569428"/>
            <a:ext cx="8284187" cy="3493333"/>
          </a:xfrm>
          <a:prstGeom prst="rect">
            <a:avLst/>
          </a:prstGeom>
        </p:spPr>
      </p:pic>
      <p:sp>
        <p:nvSpPr>
          <p:cNvPr id="2" name="Slide Number Placeholder 1">
            <a:extLst>
              <a:ext uri="{FF2B5EF4-FFF2-40B4-BE49-F238E27FC236}">
                <a16:creationId xmlns:a16="http://schemas.microsoft.com/office/drawing/2014/main" id="{99AE1A04-85B3-C2B8-36C1-23AD8083AA4B}"/>
              </a:ext>
            </a:extLst>
          </p:cNvPr>
          <p:cNvSpPr>
            <a:spLocks noGrp="1"/>
          </p:cNvSpPr>
          <p:nvPr>
            <p:ph type="sldNum" sz="quarter" idx="12"/>
          </p:nvPr>
        </p:nvSpPr>
        <p:spPr/>
        <p:txBody>
          <a:bodyPr/>
          <a:lstStyle/>
          <a:p>
            <a:fld id="{EEAD9179-7A6B-4268-BEB2-F3B8EB06115B}" type="slidenum">
              <a:rPr lang="en-US" noProof="0" smtClean="0"/>
              <a:t>21</a:t>
            </a:fld>
            <a:endParaRPr lang="en-US" noProof="0"/>
          </a:p>
        </p:txBody>
      </p:sp>
      <p:sp>
        <p:nvSpPr>
          <p:cNvPr id="4" name="TextBox 3">
            <a:extLst>
              <a:ext uri="{FF2B5EF4-FFF2-40B4-BE49-F238E27FC236}">
                <a16:creationId xmlns:a16="http://schemas.microsoft.com/office/drawing/2014/main" id="{17BD92E2-3887-479A-D757-38D7889A9875}"/>
              </a:ext>
            </a:extLst>
          </p:cNvPr>
          <p:cNvSpPr txBox="1"/>
          <p:nvPr/>
        </p:nvSpPr>
        <p:spPr>
          <a:xfrm>
            <a:off x="814664" y="1466594"/>
            <a:ext cx="10562672" cy="646331"/>
          </a:xfrm>
          <a:prstGeom prst="rect">
            <a:avLst/>
          </a:prstGeom>
          <a:noFill/>
        </p:spPr>
        <p:txBody>
          <a:bodyPr wrap="square" rtlCol="0">
            <a:spAutoFit/>
          </a:bodyPr>
          <a:lstStyle/>
          <a:p>
            <a:r>
              <a:rPr lang="en-US"/>
              <a:t>Model interpolated high-resolution </a:t>
            </a:r>
            <a:r>
              <a:rPr lang="en-US" u="sng"/>
              <a:t>Average Relative Humidity</a:t>
            </a:r>
            <a:r>
              <a:rPr lang="en-US" b="1"/>
              <a:t> </a:t>
            </a:r>
            <a:r>
              <a:rPr lang="en-US"/>
              <a:t>data has good spatial agreement with observed (TWC) high-resolution data.  </a:t>
            </a:r>
          </a:p>
        </p:txBody>
      </p:sp>
      <p:sp>
        <p:nvSpPr>
          <p:cNvPr id="5" name="Arrow: Down 4">
            <a:extLst>
              <a:ext uri="{FF2B5EF4-FFF2-40B4-BE49-F238E27FC236}">
                <a16:creationId xmlns:a16="http://schemas.microsoft.com/office/drawing/2014/main" id="{73EDB022-E7F0-BF1B-16F2-320F277AA1C1}"/>
              </a:ext>
            </a:extLst>
          </p:cNvPr>
          <p:cNvSpPr/>
          <p:nvPr/>
        </p:nvSpPr>
        <p:spPr>
          <a:xfrm>
            <a:off x="3202487" y="6058248"/>
            <a:ext cx="181411" cy="236325"/>
          </a:xfrm>
          <a:prstGeom prst="downArrow">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A46D0C84-66EB-F51F-FE84-7D1A99507361}"/>
              </a:ext>
            </a:extLst>
          </p:cNvPr>
          <p:cNvSpPr txBox="1"/>
          <p:nvPr/>
        </p:nvSpPr>
        <p:spPr>
          <a:xfrm>
            <a:off x="2227890" y="6349987"/>
            <a:ext cx="2130603" cy="338554"/>
          </a:xfrm>
          <a:prstGeom prst="rect">
            <a:avLst/>
          </a:prstGeom>
          <a:noFill/>
        </p:spPr>
        <p:txBody>
          <a:bodyPr wrap="square" rtlCol="0">
            <a:spAutoFit/>
          </a:bodyPr>
          <a:lstStyle/>
          <a:p>
            <a:pPr algn="ctr"/>
            <a:r>
              <a:rPr lang="en-US" sz="1600" i="1"/>
              <a:t>Input Data (28 km)</a:t>
            </a:r>
          </a:p>
        </p:txBody>
      </p:sp>
      <p:sp>
        <p:nvSpPr>
          <p:cNvPr id="11" name="TextBox 10">
            <a:extLst>
              <a:ext uri="{FF2B5EF4-FFF2-40B4-BE49-F238E27FC236}">
                <a16:creationId xmlns:a16="http://schemas.microsoft.com/office/drawing/2014/main" id="{36E05499-4C8A-15E8-0646-ADD534019E9F}"/>
              </a:ext>
            </a:extLst>
          </p:cNvPr>
          <p:cNvSpPr txBox="1"/>
          <p:nvPr/>
        </p:nvSpPr>
        <p:spPr>
          <a:xfrm>
            <a:off x="7530817" y="6277123"/>
            <a:ext cx="2130603" cy="584775"/>
          </a:xfrm>
          <a:prstGeom prst="rect">
            <a:avLst/>
          </a:prstGeom>
          <a:noFill/>
        </p:spPr>
        <p:txBody>
          <a:bodyPr wrap="square" rtlCol="0">
            <a:spAutoFit/>
          </a:bodyPr>
          <a:lstStyle/>
          <a:p>
            <a:pPr algn="ctr"/>
            <a:r>
              <a:rPr lang="en-US" sz="1600" i="1">
                <a:solidFill>
                  <a:srgbClr val="00B0F0"/>
                </a:solidFill>
              </a:rPr>
              <a:t>Modeled Improved Resolution Data (4 km)</a:t>
            </a:r>
          </a:p>
        </p:txBody>
      </p:sp>
      <p:sp>
        <p:nvSpPr>
          <p:cNvPr id="12" name="Arrow: Down 11">
            <a:extLst>
              <a:ext uri="{FF2B5EF4-FFF2-40B4-BE49-F238E27FC236}">
                <a16:creationId xmlns:a16="http://schemas.microsoft.com/office/drawing/2014/main" id="{1C873AA9-C6B7-789B-ADC9-4470D44A69F7}"/>
              </a:ext>
            </a:extLst>
          </p:cNvPr>
          <p:cNvSpPr/>
          <p:nvPr/>
        </p:nvSpPr>
        <p:spPr>
          <a:xfrm>
            <a:off x="5725224" y="6058248"/>
            <a:ext cx="181411" cy="236325"/>
          </a:xfrm>
          <a:prstGeom prst="downArrow">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509B8E1A-BC5A-E524-8FE0-8FF1D3788A20}"/>
              </a:ext>
            </a:extLst>
          </p:cNvPr>
          <p:cNvSpPr txBox="1"/>
          <p:nvPr/>
        </p:nvSpPr>
        <p:spPr>
          <a:xfrm>
            <a:off x="4750627" y="6349987"/>
            <a:ext cx="2130603" cy="338554"/>
          </a:xfrm>
          <a:prstGeom prst="rect">
            <a:avLst/>
          </a:prstGeom>
          <a:noFill/>
        </p:spPr>
        <p:txBody>
          <a:bodyPr wrap="square" rtlCol="0">
            <a:spAutoFit/>
          </a:bodyPr>
          <a:lstStyle/>
          <a:p>
            <a:pPr algn="ctr"/>
            <a:r>
              <a:rPr lang="en-US" sz="1600" i="1"/>
              <a:t>Training Data (4 km)</a:t>
            </a:r>
          </a:p>
        </p:txBody>
      </p:sp>
      <p:sp>
        <p:nvSpPr>
          <p:cNvPr id="14" name="Arrow: Down 13">
            <a:extLst>
              <a:ext uri="{FF2B5EF4-FFF2-40B4-BE49-F238E27FC236}">
                <a16:creationId xmlns:a16="http://schemas.microsoft.com/office/drawing/2014/main" id="{04F280DF-BB48-313E-469D-0D1472F053FB}"/>
              </a:ext>
            </a:extLst>
          </p:cNvPr>
          <p:cNvSpPr/>
          <p:nvPr/>
        </p:nvSpPr>
        <p:spPr>
          <a:xfrm>
            <a:off x="8505414" y="6058248"/>
            <a:ext cx="181411" cy="236325"/>
          </a:xfrm>
          <a:prstGeom prst="downArrow">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215493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1000"/>
                                        <p:tgtEl>
                                          <p:spTgt spid="6"/>
                                        </p:tgtEl>
                                      </p:cBhvr>
                                    </p:animEffect>
                                    <p:anim calcmode="lin" valueType="num">
                                      <p:cBhvr>
                                        <p:cTn id="13" dur="1000" fill="hold"/>
                                        <p:tgtEl>
                                          <p:spTgt spid="6"/>
                                        </p:tgtEl>
                                        <p:attrNameLst>
                                          <p:attrName>ppt_x</p:attrName>
                                        </p:attrNameLst>
                                      </p:cBhvr>
                                      <p:tavLst>
                                        <p:tav tm="0">
                                          <p:val>
                                            <p:strVal val="#ppt_x"/>
                                          </p:val>
                                        </p:tav>
                                        <p:tav tm="100000">
                                          <p:val>
                                            <p:strVal val="#ppt_x"/>
                                          </p:val>
                                        </p:tav>
                                      </p:tavLst>
                                    </p:anim>
                                    <p:anim calcmode="lin" valueType="num">
                                      <p:cBhvr>
                                        <p:cTn id="14" dur="1000" fill="hold"/>
                                        <p:tgtEl>
                                          <p:spTgt spid="6"/>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1000"/>
                                        <p:tgtEl>
                                          <p:spTgt spid="12"/>
                                        </p:tgtEl>
                                      </p:cBhvr>
                                    </p:animEffect>
                                    <p:anim calcmode="lin" valueType="num">
                                      <p:cBhvr>
                                        <p:cTn id="18" dur="1000" fill="hold"/>
                                        <p:tgtEl>
                                          <p:spTgt spid="12"/>
                                        </p:tgtEl>
                                        <p:attrNameLst>
                                          <p:attrName>ppt_x</p:attrName>
                                        </p:attrNameLst>
                                      </p:cBhvr>
                                      <p:tavLst>
                                        <p:tav tm="0">
                                          <p:val>
                                            <p:strVal val="#ppt_x"/>
                                          </p:val>
                                        </p:tav>
                                        <p:tav tm="100000">
                                          <p:val>
                                            <p:strVal val="#ppt_x"/>
                                          </p:val>
                                        </p:tav>
                                      </p:tavLst>
                                    </p:anim>
                                    <p:anim calcmode="lin" valueType="num">
                                      <p:cBhvr>
                                        <p:cTn id="19" dur="1000" fill="hold"/>
                                        <p:tgtEl>
                                          <p:spTgt spid="12"/>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1000"/>
                                        <p:tgtEl>
                                          <p:spTgt spid="13"/>
                                        </p:tgtEl>
                                      </p:cBhvr>
                                    </p:animEffect>
                                    <p:anim calcmode="lin" valueType="num">
                                      <p:cBhvr>
                                        <p:cTn id="23" dur="1000" fill="hold"/>
                                        <p:tgtEl>
                                          <p:spTgt spid="13"/>
                                        </p:tgtEl>
                                        <p:attrNameLst>
                                          <p:attrName>ppt_x</p:attrName>
                                        </p:attrNameLst>
                                      </p:cBhvr>
                                      <p:tavLst>
                                        <p:tav tm="0">
                                          <p:val>
                                            <p:strVal val="#ppt_x"/>
                                          </p:val>
                                        </p:tav>
                                        <p:tav tm="100000">
                                          <p:val>
                                            <p:strVal val="#ppt_x"/>
                                          </p:val>
                                        </p:tav>
                                      </p:tavLst>
                                    </p:anim>
                                    <p:anim calcmode="lin" valueType="num">
                                      <p:cBhvr>
                                        <p:cTn id="24"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42" presetClass="entr" presetSubtype="0" fill="hold" grpId="0" nodeType="clickEffect">
                                  <p:stCondLst>
                                    <p:cond delay="0"/>
                                  </p:stCondLst>
                                  <p:childTnLst>
                                    <p:set>
                                      <p:cBhvr>
                                        <p:cTn id="28" dur="1" fill="hold">
                                          <p:stCondLst>
                                            <p:cond delay="0"/>
                                          </p:stCondLst>
                                        </p:cTn>
                                        <p:tgtEl>
                                          <p:spTgt spid="14"/>
                                        </p:tgtEl>
                                        <p:attrNameLst>
                                          <p:attrName>style.visibility</p:attrName>
                                        </p:attrNameLst>
                                      </p:cBhvr>
                                      <p:to>
                                        <p:strVal val="visible"/>
                                      </p:to>
                                    </p:set>
                                    <p:animEffect transition="in" filter="fade">
                                      <p:cBhvr>
                                        <p:cTn id="29" dur="1000"/>
                                        <p:tgtEl>
                                          <p:spTgt spid="14"/>
                                        </p:tgtEl>
                                      </p:cBhvr>
                                    </p:animEffect>
                                    <p:anim calcmode="lin" valueType="num">
                                      <p:cBhvr>
                                        <p:cTn id="30" dur="1000" fill="hold"/>
                                        <p:tgtEl>
                                          <p:spTgt spid="14"/>
                                        </p:tgtEl>
                                        <p:attrNameLst>
                                          <p:attrName>ppt_x</p:attrName>
                                        </p:attrNameLst>
                                      </p:cBhvr>
                                      <p:tavLst>
                                        <p:tav tm="0">
                                          <p:val>
                                            <p:strVal val="#ppt_x"/>
                                          </p:val>
                                        </p:tav>
                                        <p:tav tm="100000">
                                          <p:val>
                                            <p:strVal val="#ppt_x"/>
                                          </p:val>
                                        </p:tav>
                                      </p:tavLst>
                                    </p:anim>
                                    <p:anim calcmode="lin" valueType="num">
                                      <p:cBhvr>
                                        <p:cTn id="31" dur="1000" fill="hold"/>
                                        <p:tgtEl>
                                          <p:spTgt spid="14"/>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11"/>
                                        </p:tgtEl>
                                        <p:attrNameLst>
                                          <p:attrName>style.visibility</p:attrName>
                                        </p:attrNameLst>
                                      </p:cBhvr>
                                      <p:to>
                                        <p:strVal val="visible"/>
                                      </p:to>
                                    </p:set>
                                    <p:animEffect transition="in" filter="fade">
                                      <p:cBhvr>
                                        <p:cTn id="34" dur="1000"/>
                                        <p:tgtEl>
                                          <p:spTgt spid="11"/>
                                        </p:tgtEl>
                                      </p:cBhvr>
                                    </p:animEffect>
                                    <p:anim calcmode="lin" valueType="num">
                                      <p:cBhvr>
                                        <p:cTn id="35" dur="1000" fill="hold"/>
                                        <p:tgtEl>
                                          <p:spTgt spid="11"/>
                                        </p:tgtEl>
                                        <p:attrNameLst>
                                          <p:attrName>ppt_x</p:attrName>
                                        </p:attrNameLst>
                                      </p:cBhvr>
                                      <p:tavLst>
                                        <p:tav tm="0">
                                          <p:val>
                                            <p:strVal val="#ppt_x"/>
                                          </p:val>
                                        </p:tav>
                                        <p:tav tm="100000">
                                          <p:val>
                                            <p:strVal val="#ppt_x"/>
                                          </p:val>
                                        </p:tav>
                                      </p:tavLst>
                                    </p:anim>
                                    <p:anim calcmode="lin" valueType="num">
                                      <p:cBhvr>
                                        <p:cTn id="36"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11" grpId="0"/>
      <p:bldP spid="12" grpId="0" animBg="1"/>
      <p:bldP spid="13" grpId="0"/>
      <p:bldP spid="14"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865388" y="308973"/>
            <a:ext cx="9771851" cy="86591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i="1" u="sng">
                <a:solidFill>
                  <a:schemeClr val="accent1">
                    <a:lumMod val="50000"/>
                  </a:schemeClr>
                </a:solidFill>
                <a:latin typeface="Calibri Light" panose="020F0302020204030204" pitchFamily="34" charset="0"/>
              </a:rPr>
              <a:t>ML Model Results : </a:t>
            </a:r>
            <a:r>
              <a:rPr lang="en-US" sz="4000" b="1" i="1" u="sng">
                <a:solidFill>
                  <a:schemeClr val="accent1">
                    <a:lumMod val="50000"/>
                  </a:schemeClr>
                </a:solidFill>
                <a:latin typeface="Calibri Light" panose="020F0302020204030204" pitchFamily="34" charset="0"/>
              </a:rPr>
              <a:t>Maximum Temperature</a:t>
            </a:r>
            <a:endParaRPr lang="en-US" sz="4000" b="1" i="1" u="sng">
              <a:solidFill>
                <a:schemeClr val="accent1">
                  <a:lumMod val="50000"/>
                </a:schemeClr>
              </a:solidFill>
            </a:endParaRPr>
          </a:p>
        </p:txBody>
      </p:sp>
      <p:sp>
        <p:nvSpPr>
          <p:cNvPr id="3" name="Slide Number Placeholder 2">
            <a:extLst>
              <a:ext uri="{FF2B5EF4-FFF2-40B4-BE49-F238E27FC236}">
                <a16:creationId xmlns:a16="http://schemas.microsoft.com/office/drawing/2014/main" id="{B32175AB-1DB3-5446-7E5C-A305118EF0B3}"/>
              </a:ext>
            </a:extLst>
          </p:cNvPr>
          <p:cNvSpPr>
            <a:spLocks noGrp="1"/>
          </p:cNvSpPr>
          <p:nvPr>
            <p:ph type="sldNum" sz="quarter" idx="12"/>
          </p:nvPr>
        </p:nvSpPr>
        <p:spPr/>
        <p:txBody>
          <a:bodyPr/>
          <a:lstStyle/>
          <a:p>
            <a:fld id="{EEAD9179-7A6B-4268-BEB2-F3B8EB06115B}" type="slidenum">
              <a:rPr lang="en-US" noProof="0" smtClean="0"/>
              <a:t>22</a:t>
            </a:fld>
            <a:endParaRPr lang="en-US" noProof="0"/>
          </a:p>
        </p:txBody>
      </p:sp>
      <p:pic>
        <p:nvPicPr>
          <p:cNvPr id="4" name="Picture 3">
            <a:extLst>
              <a:ext uri="{FF2B5EF4-FFF2-40B4-BE49-F238E27FC236}">
                <a16:creationId xmlns:a16="http://schemas.microsoft.com/office/drawing/2014/main" id="{C0ED79BE-6CE6-7120-DA3B-2AD0866D8AC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318577" y="2240153"/>
            <a:ext cx="3535736" cy="2660821"/>
          </a:xfrm>
          <a:prstGeom prst="rect">
            <a:avLst/>
          </a:prstGeom>
        </p:spPr>
      </p:pic>
      <p:pic>
        <p:nvPicPr>
          <p:cNvPr id="5" name="Picture 4">
            <a:extLst>
              <a:ext uri="{FF2B5EF4-FFF2-40B4-BE49-F238E27FC236}">
                <a16:creationId xmlns:a16="http://schemas.microsoft.com/office/drawing/2014/main" id="{56CC5859-96F2-5188-5BEE-E299DB03A43A}"/>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4123529" y="2228849"/>
            <a:ext cx="3528109" cy="2678072"/>
          </a:xfrm>
          <a:prstGeom prst="rect">
            <a:avLst/>
          </a:prstGeom>
        </p:spPr>
      </p:pic>
      <p:pic>
        <p:nvPicPr>
          <p:cNvPr id="6" name="Picture 5">
            <a:extLst>
              <a:ext uri="{FF2B5EF4-FFF2-40B4-BE49-F238E27FC236}">
                <a16:creationId xmlns:a16="http://schemas.microsoft.com/office/drawing/2014/main" id="{7CF2DA5D-F5EB-25AB-490D-0B21CB7C30F2}"/>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198616" y="2240153"/>
            <a:ext cx="3547762" cy="2660821"/>
          </a:xfrm>
          <a:prstGeom prst="rect">
            <a:avLst/>
          </a:prstGeom>
        </p:spPr>
      </p:pic>
      <p:sp>
        <p:nvSpPr>
          <p:cNvPr id="2" name="TextBox 1">
            <a:extLst>
              <a:ext uri="{FF2B5EF4-FFF2-40B4-BE49-F238E27FC236}">
                <a16:creationId xmlns:a16="http://schemas.microsoft.com/office/drawing/2014/main" id="{7954C781-6118-2324-A69A-96D5BF3A525F}"/>
              </a:ext>
            </a:extLst>
          </p:cNvPr>
          <p:cNvSpPr txBox="1"/>
          <p:nvPr/>
        </p:nvSpPr>
        <p:spPr>
          <a:xfrm>
            <a:off x="900246" y="1144846"/>
            <a:ext cx="10191565" cy="646331"/>
          </a:xfrm>
          <a:prstGeom prst="rect">
            <a:avLst/>
          </a:prstGeom>
          <a:noFill/>
        </p:spPr>
        <p:txBody>
          <a:bodyPr wrap="square" rtlCol="0">
            <a:spAutoFit/>
          </a:bodyPr>
          <a:lstStyle/>
          <a:p>
            <a:r>
              <a:rPr lang="en-US" dirty="0"/>
              <a:t>ML model (GOSS) interpolated </a:t>
            </a:r>
            <a:r>
              <a:rPr lang="en-US" u="sng" dirty="0"/>
              <a:t>Maximum Temperature</a:t>
            </a:r>
            <a:r>
              <a:rPr lang="en-US" dirty="0"/>
              <a:t> has improved R</a:t>
            </a:r>
            <a:r>
              <a:rPr lang="en-US" baseline="30000" dirty="0"/>
              <a:t>2 </a:t>
            </a:r>
            <a:r>
              <a:rPr lang="en-US" dirty="0"/>
              <a:t>correlation with observed data in both train and test set.</a:t>
            </a:r>
            <a:r>
              <a:rPr lang="en-US" baseline="30000" dirty="0"/>
              <a:t> </a:t>
            </a:r>
          </a:p>
        </p:txBody>
      </p:sp>
      <p:sp>
        <p:nvSpPr>
          <p:cNvPr id="10" name="TextBox 9">
            <a:extLst>
              <a:ext uri="{FF2B5EF4-FFF2-40B4-BE49-F238E27FC236}">
                <a16:creationId xmlns:a16="http://schemas.microsoft.com/office/drawing/2014/main" id="{A5B8E978-F446-1F16-200D-8D12F70153EA}"/>
              </a:ext>
            </a:extLst>
          </p:cNvPr>
          <p:cNvSpPr txBox="1"/>
          <p:nvPr/>
        </p:nvSpPr>
        <p:spPr>
          <a:xfrm>
            <a:off x="643354" y="5317235"/>
            <a:ext cx="2743200" cy="584775"/>
          </a:xfrm>
          <a:prstGeom prst="rect">
            <a:avLst/>
          </a:prstGeom>
          <a:noFill/>
        </p:spPr>
        <p:txBody>
          <a:bodyPr wrap="square" rtlCol="0">
            <a:spAutoFit/>
          </a:bodyPr>
          <a:lstStyle/>
          <a:p>
            <a:pPr algn="ctr"/>
            <a:r>
              <a:rPr lang="en-US" sz="1600" i="1"/>
              <a:t>resampled ERA5 data (4km) vs </a:t>
            </a:r>
          </a:p>
          <a:p>
            <a:pPr algn="ctr"/>
            <a:r>
              <a:rPr lang="en-US" sz="1600" i="1"/>
              <a:t>TWC Data (4km)</a:t>
            </a:r>
            <a:endParaRPr lang="en-US" sz="1600"/>
          </a:p>
        </p:txBody>
      </p:sp>
      <p:sp>
        <p:nvSpPr>
          <p:cNvPr id="11" name="TextBox 10">
            <a:extLst>
              <a:ext uri="{FF2B5EF4-FFF2-40B4-BE49-F238E27FC236}">
                <a16:creationId xmlns:a16="http://schemas.microsoft.com/office/drawing/2014/main" id="{69746201-59CB-8400-E348-6986280E0725}"/>
              </a:ext>
            </a:extLst>
          </p:cNvPr>
          <p:cNvSpPr txBox="1"/>
          <p:nvPr/>
        </p:nvSpPr>
        <p:spPr>
          <a:xfrm>
            <a:off x="4491037" y="5176070"/>
            <a:ext cx="3209925" cy="1077218"/>
          </a:xfrm>
          <a:prstGeom prst="rect">
            <a:avLst/>
          </a:prstGeom>
          <a:noFill/>
        </p:spPr>
        <p:txBody>
          <a:bodyPr wrap="square" rtlCol="0">
            <a:spAutoFit/>
          </a:bodyPr>
          <a:lstStyle/>
          <a:p>
            <a:pPr algn="ctr"/>
            <a:r>
              <a:rPr lang="en-US" sz="1600" i="1"/>
              <a:t>model interpolated ERA5 data (4km) vs </a:t>
            </a:r>
          </a:p>
          <a:p>
            <a:pPr algn="ctr"/>
            <a:r>
              <a:rPr lang="en-US" sz="1600" i="1"/>
              <a:t>TWC Data (4km)</a:t>
            </a:r>
          </a:p>
          <a:p>
            <a:pPr algn="ctr"/>
            <a:r>
              <a:rPr lang="en-US" sz="1600"/>
              <a:t>(</a:t>
            </a:r>
            <a:r>
              <a:rPr lang="en-US" sz="1600">
                <a:solidFill>
                  <a:srgbClr val="7030A0"/>
                </a:solidFill>
              </a:rPr>
              <a:t>train</a:t>
            </a:r>
            <a:r>
              <a:rPr lang="en-US" sz="1600"/>
              <a:t> set)</a:t>
            </a:r>
          </a:p>
        </p:txBody>
      </p:sp>
      <p:sp>
        <p:nvSpPr>
          <p:cNvPr id="12" name="TextBox 11">
            <a:extLst>
              <a:ext uri="{FF2B5EF4-FFF2-40B4-BE49-F238E27FC236}">
                <a16:creationId xmlns:a16="http://schemas.microsoft.com/office/drawing/2014/main" id="{D82C1762-FD2A-563D-6DD0-F3B46230EEC3}"/>
              </a:ext>
            </a:extLst>
          </p:cNvPr>
          <p:cNvSpPr txBox="1"/>
          <p:nvPr/>
        </p:nvSpPr>
        <p:spPr>
          <a:xfrm>
            <a:off x="8441497" y="5176070"/>
            <a:ext cx="3324225" cy="1077218"/>
          </a:xfrm>
          <a:prstGeom prst="rect">
            <a:avLst/>
          </a:prstGeom>
          <a:noFill/>
        </p:spPr>
        <p:txBody>
          <a:bodyPr wrap="square" rtlCol="0">
            <a:spAutoFit/>
          </a:bodyPr>
          <a:lstStyle/>
          <a:p>
            <a:pPr algn="ctr"/>
            <a:r>
              <a:rPr lang="en-US" sz="1600" i="1"/>
              <a:t>model interpolated ERA5 data (4km) vs </a:t>
            </a:r>
          </a:p>
          <a:p>
            <a:pPr algn="ctr"/>
            <a:r>
              <a:rPr lang="en-US" sz="1600" i="1"/>
              <a:t>TWC Data (4km)</a:t>
            </a:r>
          </a:p>
          <a:p>
            <a:pPr algn="ctr"/>
            <a:r>
              <a:rPr lang="en-US" sz="1600"/>
              <a:t>(</a:t>
            </a:r>
            <a:r>
              <a:rPr lang="en-US" sz="1600">
                <a:solidFill>
                  <a:schemeClr val="accent2">
                    <a:lumMod val="75000"/>
                  </a:schemeClr>
                </a:solidFill>
              </a:rPr>
              <a:t>test</a:t>
            </a:r>
            <a:r>
              <a:rPr lang="en-US" sz="1600"/>
              <a:t> set)</a:t>
            </a:r>
          </a:p>
        </p:txBody>
      </p:sp>
      <p:sp>
        <p:nvSpPr>
          <p:cNvPr id="7" name="TextBox 6">
            <a:extLst>
              <a:ext uri="{FF2B5EF4-FFF2-40B4-BE49-F238E27FC236}">
                <a16:creationId xmlns:a16="http://schemas.microsoft.com/office/drawing/2014/main" id="{CD1C828C-05FF-C666-6546-DDD712665BB8}"/>
              </a:ext>
            </a:extLst>
          </p:cNvPr>
          <p:cNvSpPr txBox="1"/>
          <p:nvPr/>
        </p:nvSpPr>
        <p:spPr>
          <a:xfrm>
            <a:off x="685745" y="2324049"/>
            <a:ext cx="415265" cy="276999"/>
          </a:xfrm>
          <a:prstGeom prst="rect">
            <a:avLst/>
          </a:prstGeom>
          <a:solidFill>
            <a:schemeClr val="bg1"/>
          </a:solidFill>
        </p:spPr>
        <p:txBody>
          <a:bodyPr wrap="square" rtlCol="0">
            <a:spAutoFit/>
          </a:bodyPr>
          <a:lstStyle/>
          <a:p>
            <a:pPr algn="r"/>
            <a:r>
              <a:rPr lang="en-US" sz="1200" dirty="0"/>
              <a:t>R</a:t>
            </a:r>
            <a:r>
              <a:rPr lang="en-US" sz="1200" baseline="30000" dirty="0"/>
              <a:t>2</a:t>
            </a:r>
            <a:r>
              <a:rPr lang="en-US" sz="1200" dirty="0"/>
              <a:t>:</a:t>
            </a:r>
          </a:p>
        </p:txBody>
      </p:sp>
      <p:sp>
        <p:nvSpPr>
          <p:cNvPr id="8" name="TextBox 7">
            <a:extLst>
              <a:ext uri="{FF2B5EF4-FFF2-40B4-BE49-F238E27FC236}">
                <a16:creationId xmlns:a16="http://schemas.microsoft.com/office/drawing/2014/main" id="{BA7018AD-2932-AEE6-95A5-3ED2089ADA2B}"/>
              </a:ext>
            </a:extLst>
          </p:cNvPr>
          <p:cNvSpPr txBox="1"/>
          <p:nvPr/>
        </p:nvSpPr>
        <p:spPr>
          <a:xfrm>
            <a:off x="4597810" y="2312606"/>
            <a:ext cx="415265" cy="276999"/>
          </a:xfrm>
          <a:prstGeom prst="rect">
            <a:avLst/>
          </a:prstGeom>
          <a:solidFill>
            <a:schemeClr val="bg1"/>
          </a:solidFill>
        </p:spPr>
        <p:txBody>
          <a:bodyPr wrap="square" rtlCol="0">
            <a:spAutoFit/>
          </a:bodyPr>
          <a:lstStyle/>
          <a:p>
            <a:pPr algn="r"/>
            <a:r>
              <a:rPr lang="en-US" sz="1200" dirty="0"/>
              <a:t>R</a:t>
            </a:r>
            <a:r>
              <a:rPr lang="en-US" sz="1200" baseline="30000" dirty="0"/>
              <a:t>2</a:t>
            </a:r>
            <a:r>
              <a:rPr lang="en-US" sz="1200" dirty="0"/>
              <a:t>:</a:t>
            </a:r>
          </a:p>
        </p:txBody>
      </p:sp>
      <p:sp>
        <p:nvSpPr>
          <p:cNvPr id="13" name="TextBox 12">
            <a:extLst>
              <a:ext uri="{FF2B5EF4-FFF2-40B4-BE49-F238E27FC236}">
                <a16:creationId xmlns:a16="http://schemas.microsoft.com/office/drawing/2014/main" id="{C2D262AF-1027-98E0-3D1B-22BE8C68EC0C}"/>
              </a:ext>
            </a:extLst>
          </p:cNvPr>
          <p:cNvSpPr txBox="1"/>
          <p:nvPr/>
        </p:nvSpPr>
        <p:spPr>
          <a:xfrm>
            <a:off x="8798251" y="2319744"/>
            <a:ext cx="415265" cy="276999"/>
          </a:xfrm>
          <a:prstGeom prst="rect">
            <a:avLst/>
          </a:prstGeom>
          <a:solidFill>
            <a:schemeClr val="bg1"/>
          </a:solidFill>
        </p:spPr>
        <p:txBody>
          <a:bodyPr wrap="square" rtlCol="0">
            <a:spAutoFit/>
          </a:bodyPr>
          <a:lstStyle/>
          <a:p>
            <a:pPr algn="r"/>
            <a:r>
              <a:rPr lang="en-US" sz="1200" dirty="0"/>
              <a:t>R</a:t>
            </a:r>
            <a:r>
              <a:rPr lang="en-US" sz="1200" baseline="30000" dirty="0"/>
              <a:t>2</a:t>
            </a:r>
            <a:r>
              <a:rPr lang="en-US" sz="1200" dirty="0"/>
              <a:t>:</a:t>
            </a:r>
          </a:p>
        </p:txBody>
      </p:sp>
    </p:spTree>
    <p:extLst>
      <p:ext uri="{BB962C8B-B14F-4D97-AF65-F5344CB8AC3E}">
        <p14:creationId xmlns:p14="http://schemas.microsoft.com/office/powerpoint/2010/main" val="31265845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0" presetClass="entr" presetSubtype="0" fill="hold" grpId="0" nodeType="with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8" grpId="0" animBg="1"/>
      <p:bldP spid="13"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768194" y="289742"/>
            <a:ext cx="9144000" cy="7316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i="1" u="sng">
                <a:solidFill>
                  <a:schemeClr val="accent1">
                    <a:lumMod val="50000"/>
                  </a:schemeClr>
                </a:solidFill>
                <a:latin typeface="Calibri Light" panose="020F0302020204030204" pitchFamily="34" charset="0"/>
              </a:rPr>
              <a:t>ML Model Results : </a:t>
            </a:r>
            <a:r>
              <a:rPr lang="en-US" sz="4000" b="1" i="1" u="sng">
                <a:solidFill>
                  <a:schemeClr val="accent1">
                    <a:lumMod val="50000"/>
                  </a:schemeClr>
                </a:solidFill>
                <a:latin typeface="Calibri Light" panose="020F0302020204030204" pitchFamily="34" charset="0"/>
              </a:rPr>
              <a:t>Maximum Temperature</a:t>
            </a:r>
            <a:endParaRPr lang="en-US" sz="4000" b="1" i="1" u="sng">
              <a:solidFill>
                <a:schemeClr val="accent1">
                  <a:lumMod val="50000"/>
                </a:schemeClr>
              </a:solidFill>
            </a:endParaRPr>
          </a:p>
        </p:txBody>
      </p:sp>
      <p:pic>
        <p:nvPicPr>
          <p:cNvPr id="5" name="Picture 4">
            <a:extLst>
              <a:ext uri="{FF2B5EF4-FFF2-40B4-BE49-F238E27FC236}">
                <a16:creationId xmlns:a16="http://schemas.microsoft.com/office/drawing/2014/main" id="{FFB1E75E-CD71-507C-BB0A-BE0ACF1CB6F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358822" y="1920658"/>
            <a:ext cx="5474356" cy="4064084"/>
          </a:xfrm>
          <a:prstGeom prst="rect">
            <a:avLst/>
          </a:prstGeom>
        </p:spPr>
      </p:pic>
      <p:sp>
        <p:nvSpPr>
          <p:cNvPr id="2" name="Slide Number Placeholder 1">
            <a:extLst>
              <a:ext uri="{FF2B5EF4-FFF2-40B4-BE49-F238E27FC236}">
                <a16:creationId xmlns:a16="http://schemas.microsoft.com/office/drawing/2014/main" id="{0A60EB20-EC01-4148-142A-A90438FBEEA2}"/>
              </a:ext>
            </a:extLst>
          </p:cNvPr>
          <p:cNvSpPr>
            <a:spLocks noGrp="1"/>
          </p:cNvSpPr>
          <p:nvPr>
            <p:ph type="sldNum" sz="quarter" idx="12"/>
          </p:nvPr>
        </p:nvSpPr>
        <p:spPr/>
        <p:txBody>
          <a:bodyPr/>
          <a:lstStyle/>
          <a:p>
            <a:fld id="{EEAD9179-7A6B-4268-BEB2-F3B8EB06115B}" type="slidenum">
              <a:rPr lang="en-US" smtClean="0"/>
              <a:pPr/>
              <a:t>23</a:t>
            </a:fld>
            <a:endParaRPr lang="en-US"/>
          </a:p>
        </p:txBody>
      </p:sp>
      <p:sp>
        <p:nvSpPr>
          <p:cNvPr id="4" name="TextBox 3">
            <a:extLst>
              <a:ext uri="{FF2B5EF4-FFF2-40B4-BE49-F238E27FC236}">
                <a16:creationId xmlns:a16="http://schemas.microsoft.com/office/drawing/2014/main" id="{26A528D3-6165-AA0D-8B5A-5F6EDD064ED7}"/>
              </a:ext>
            </a:extLst>
          </p:cNvPr>
          <p:cNvSpPr txBox="1"/>
          <p:nvPr/>
        </p:nvSpPr>
        <p:spPr>
          <a:xfrm>
            <a:off x="768194" y="1058022"/>
            <a:ext cx="10562672" cy="369332"/>
          </a:xfrm>
          <a:prstGeom prst="rect">
            <a:avLst/>
          </a:prstGeom>
          <a:noFill/>
        </p:spPr>
        <p:txBody>
          <a:bodyPr wrap="square" rtlCol="0">
            <a:spAutoFit/>
          </a:bodyPr>
          <a:lstStyle/>
          <a:p>
            <a:r>
              <a:rPr lang="en-US"/>
              <a:t>Overall, ML model performance is satisfactory for daily </a:t>
            </a:r>
            <a:r>
              <a:rPr lang="en-US" u="sng"/>
              <a:t>Maximum Temperature </a:t>
            </a:r>
            <a:r>
              <a:rPr lang="en-US"/>
              <a:t>datasets in the </a:t>
            </a:r>
            <a:r>
              <a:rPr lang="en-US" u="sng"/>
              <a:t>test set</a:t>
            </a:r>
            <a:r>
              <a:rPr lang="en-US"/>
              <a:t>.</a:t>
            </a:r>
          </a:p>
        </p:txBody>
      </p:sp>
      <p:sp>
        <p:nvSpPr>
          <p:cNvPr id="3" name="TextBox 2">
            <a:extLst>
              <a:ext uri="{FF2B5EF4-FFF2-40B4-BE49-F238E27FC236}">
                <a16:creationId xmlns:a16="http://schemas.microsoft.com/office/drawing/2014/main" id="{CF2E21D2-7571-4C77-B831-1A36117C1D1B}"/>
              </a:ext>
            </a:extLst>
          </p:cNvPr>
          <p:cNvSpPr txBox="1"/>
          <p:nvPr/>
        </p:nvSpPr>
        <p:spPr>
          <a:xfrm>
            <a:off x="3358822" y="6154880"/>
            <a:ext cx="6036906" cy="646331"/>
          </a:xfrm>
          <a:prstGeom prst="rect">
            <a:avLst/>
          </a:prstGeom>
          <a:noFill/>
        </p:spPr>
        <p:txBody>
          <a:bodyPr wrap="square" rtlCol="0">
            <a:spAutoFit/>
          </a:bodyPr>
          <a:lstStyle/>
          <a:p>
            <a:pPr algn="ctr"/>
            <a:r>
              <a:rPr lang="en-US" b="1">
                <a:solidFill>
                  <a:schemeClr val="accent6">
                    <a:lumMod val="75000"/>
                  </a:schemeClr>
                </a:solidFill>
              </a:rPr>
              <a:t>R</a:t>
            </a:r>
            <a:r>
              <a:rPr lang="en-US" b="1" baseline="30000">
                <a:solidFill>
                  <a:schemeClr val="accent6">
                    <a:lumMod val="75000"/>
                  </a:schemeClr>
                </a:solidFill>
              </a:rPr>
              <a:t>2</a:t>
            </a:r>
            <a:r>
              <a:rPr lang="en-US" b="1">
                <a:solidFill>
                  <a:schemeClr val="accent6">
                    <a:lumMod val="75000"/>
                  </a:schemeClr>
                </a:solidFill>
              </a:rPr>
              <a:t> comparison Before and After Applying ML Model </a:t>
            </a:r>
            <a:r>
              <a:rPr lang="en-US" b="1" u="sng">
                <a:solidFill>
                  <a:schemeClr val="accent6">
                    <a:lumMod val="75000"/>
                  </a:schemeClr>
                </a:solidFill>
              </a:rPr>
              <a:t>for days in Test Dataset </a:t>
            </a:r>
            <a:endParaRPr lang="en-US" b="1">
              <a:solidFill>
                <a:schemeClr val="accent6">
                  <a:lumMod val="75000"/>
                </a:schemeClr>
              </a:solidFill>
            </a:endParaRPr>
          </a:p>
        </p:txBody>
      </p:sp>
      <p:sp>
        <p:nvSpPr>
          <p:cNvPr id="8" name="TextBox 7">
            <a:extLst>
              <a:ext uri="{FF2B5EF4-FFF2-40B4-BE49-F238E27FC236}">
                <a16:creationId xmlns:a16="http://schemas.microsoft.com/office/drawing/2014/main" id="{B258A952-5F02-72D1-9663-1399AC6760A4}"/>
              </a:ext>
            </a:extLst>
          </p:cNvPr>
          <p:cNvSpPr txBox="1"/>
          <p:nvPr/>
        </p:nvSpPr>
        <p:spPr>
          <a:xfrm rot="16200000">
            <a:off x="3210443" y="3621839"/>
            <a:ext cx="415265" cy="338554"/>
          </a:xfrm>
          <a:prstGeom prst="rect">
            <a:avLst/>
          </a:prstGeom>
          <a:solidFill>
            <a:schemeClr val="bg1"/>
          </a:solidFill>
        </p:spPr>
        <p:txBody>
          <a:bodyPr wrap="square" rtlCol="0">
            <a:spAutoFit/>
          </a:bodyPr>
          <a:lstStyle/>
          <a:p>
            <a:pPr algn="r"/>
            <a:r>
              <a:rPr lang="en-US" sz="1600" dirty="0"/>
              <a:t>R</a:t>
            </a:r>
            <a:r>
              <a:rPr lang="en-US" sz="1600" baseline="30000" dirty="0"/>
              <a:t>2</a:t>
            </a:r>
            <a:endParaRPr lang="en-US" sz="1600" dirty="0"/>
          </a:p>
        </p:txBody>
      </p:sp>
    </p:spTree>
    <p:extLst>
      <p:ext uri="{BB962C8B-B14F-4D97-AF65-F5344CB8AC3E}">
        <p14:creationId xmlns:p14="http://schemas.microsoft.com/office/powerpoint/2010/main" val="21484133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771386" y="171825"/>
            <a:ext cx="10649228" cy="119135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200" i="1" u="sng">
                <a:solidFill>
                  <a:schemeClr val="accent1">
                    <a:lumMod val="50000"/>
                  </a:schemeClr>
                </a:solidFill>
                <a:latin typeface="Calibri Light" panose="020F0302020204030204" pitchFamily="34" charset="0"/>
              </a:rPr>
              <a:t>Mapping Source and Modeled Data : </a:t>
            </a:r>
            <a:r>
              <a:rPr lang="en-US" sz="3200" b="1" i="1" u="sng">
                <a:solidFill>
                  <a:schemeClr val="accent1">
                    <a:lumMod val="50000"/>
                  </a:schemeClr>
                </a:solidFill>
                <a:latin typeface="Calibri Light" panose="020F0302020204030204" pitchFamily="34" charset="0"/>
              </a:rPr>
              <a:t>Maximum Temperature</a:t>
            </a:r>
            <a:r>
              <a:rPr lang="en-US" sz="3200" i="1" u="sng">
                <a:solidFill>
                  <a:schemeClr val="accent1">
                    <a:lumMod val="50000"/>
                  </a:schemeClr>
                </a:solidFill>
                <a:latin typeface="Calibri Light" panose="020F0302020204030204" pitchFamily="34" charset="0"/>
              </a:rPr>
              <a:t>  </a:t>
            </a:r>
            <a:endParaRPr lang="en-US" sz="3200" b="1" i="1" u="sng">
              <a:solidFill>
                <a:schemeClr val="accent1">
                  <a:lumMod val="50000"/>
                </a:schemeClr>
              </a:solidFill>
            </a:endParaRPr>
          </a:p>
        </p:txBody>
      </p:sp>
      <p:pic>
        <p:nvPicPr>
          <p:cNvPr id="3" name="Picture 2">
            <a:extLst>
              <a:ext uri="{FF2B5EF4-FFF2-40B4-BE49-F238E27FC236}">
                <a16:creationId xmlns:a16="http://schemas.microsoft.com/office/drawing/2014/main" id="{16BBEA49-B7C7-2619-44DA-70CDEE7990C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342014" y="2554531"/>
            <a:ext cx="7507972" cy="3165598"/>
          </a:xfrm>
          <a:prstGeom prst="rect">
            <a:avLst/>
          </a:prstGeom>
        </p:spPr>
      </p:pic>
      <p:sp>
        <p:nvSpPr>
          <p:cNvPr id="2" name="Slide Number Placeholder 1">
            <a:extLst>
              <a:ext uri="{FF2B5EF4-FFF2-40B4-BE49-F238E27FC236}">
                <a16:creationId xmlns:a16="http://schemas.microsoft.com/office/drawing/2014/main" id="{99AE1A04-85B3-C2B8-36C1-23AD8083AA4B}"/>
              </a:ext>
            </a:extLst>
          </p:cNvPr>
          <p:cNvSpPr>
            <a:spLocks noGrp="1"/>
          </p:cNvSpPr>
          <p:nvPr>
            <p:ph type="sldNum" sz="quarter" idx="12"/>
          </p:nvPr>
        </p:nvSpPr>
        <p:spPr/>
        <p:txBody>
          <a:bodyPr/>
          <a:lstStyle/>
          <a:p>
            <a:fld id="{EEAD9179-7A6B-4268-BEB2-F3B8EB06115B}" type="slidenum">
              <a:rPr lang="en-US" noProof="0" smtClean="0"/>
              <a:t>24</a:t>
            </a:fld>
            <a:endParaRPr lang="en-US" noProof="0"/>
          </a:p>
        </p:txBody>
      </p:sp>
      <p:sp>
        <p:nvSpPr>
          <p:cNvPr id="4" name="TextBox 3">
            <a:extLst>
              <a:ext uri="{FF2B5EF4-FFF2-40B4-BE49-F238E27FC236}">
                <a16:creationId xmlns:a16="http://schemas.microsoft.com/office/drawing/2014/main" id="{8D2E76D9-60D8-0BDB-2B6A-146386004ACC}"/>
              </a:ext>
            </a:extLst>
          </p:cNvPr>
          <p:cNvSpPr txBox="1"/>
          <p:nvPr/>
        </p:nvSpPr>
        <p:spPr>
          <a:xfrm>
            <a:off x="1001095" y="1363178"/>
            <a:ext cx="10562672" cy="646331"/>
          </a:xfrm>
          <a:prstGeom prst="rect">
            <a:avLst/>
          </a:prstGeom>
          <a:noFill/>
        </p:spPr>
        <p:txBody>
          <a:bodyPr wrap="square" rtlCol="0">
            <a:spAutoFit/>
          </a:bodyPr>
          <a:lstStyle/>
          <a:p>
            <a:r>
              <a:rPr lang="en-US"/>
              <a:t>Model interpolated high-resolution </a:t>
            </a:r>
            <a:r>
              <a:rPr lang="en-US" u="sng"/>
              <a:t>Maximum Temperature</a:t>
            </a:r>
            <a:r>
              <a:rPr lang="en-US" b="1"/>
              <a:t> </a:t>
            </a:r>
            <a:r>
              <a:rPr lang="en-US"/>
              <a:t>data has good spatial agreement with observed (TWC) high-resolution data.  </a:t>
            </a:r>
          </a:p>
        </p:txBody>
      </p:sp>
    </p:spTree>
    <p:extLst>
      <p:ext uri="{BB962C8B-B14F-4D97-AF65-F5344CB8AC3E}">
        <p14:creationId xmlns:p14="http://schemas.microsoft.com/office/powerpoint/2010/main" val="98709166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865388" y="308973"/>
            <a:ext cx="9771851" cy="86591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i="1" u="sng">
                <a:solidFill>
                  <a:schemeClr val="accent1">
                    <a:lumMod val="50000"/>
                  </a:schemeClr>
                </a:solidFill>
                <a:latin typeface="Calibri Light" panose="020F0302020204030204" pitchFamily="34" charset="0"/>
              </a:rPr>
              <a:t>ML Model Results : </a:t>
            </a:r>
            <a:r>
              <a:rPr lang="en-US" sz="4000" b="1" i="1" u="sng">
                <a:solidFill>
                  <a:schemeClr val="accent1">
                    <a:lumMod val="50000"/>
                  </a:schemeClr>
                </a:solidFill>
                <a:latin typeface="Calibri Light" panose="020F0302020204030204" pitchFamily="34" charset="0"/>
              </a:rPr>
              <a:t>Total Precipitation</a:t>
            </a:r>
            <a:endParaRPr lang="en-US" sz="4000" b="1" i="1" u="sng">
              <a:solidFill>
                <a:schemeClr val="accent1">
                  <a:lumMod val="50000"/>
                </a:schemeClr>
              </a:solidFill>
            </a:endParaRPr>
          </a:p>
        </p:txBody>
      </p:sp>
      <p:pic>
        <p:nvPicPr>
          <p:cNvPr id="3" name="Picture 2">
            <a:extLst>
              <a:ext uri="{FF2B5EF4-FFF2-40B4-BE49-F238E27FC236}">
                <a16:creationId xmlns:a16="http://schemas.microsoft.com/office/drawing/2014/main" id="{72FDB37B-E1DB-C812-CAB0-7BE1829D147F}"/>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980886" y="3247603"/>
            <a:ext cx="3506025" cy="2639270"/>
          </a:xfrm>
          <a:prstGeom prst="rect">
            <a:avLst/>
          </a:prstGeom>
        </p:spPr>
      </p:pic>
      <p:pic>
        <p:nvPicPr>
          <p:cNvPr id="6" name="Picture 5">
            <a:extLst>
              <a:ext uri="{FF2B5EF4-FFF2-40B4-BE49-F238E27FC236}">
                <a16:creationId xmlns:a16="http://schemas.microsoft.com/office/drawing/2014/main" id="{B09638A6-6111-A6EC-914F-C98B17862DE6}"/>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4147960" y="3280910"/>
            <a:ext cx="3550135" cy="2564951"/>
          </a:xfrm>
          <a:prstGeom prst="rect">
            <a:avLst/>
          </a:prstGeom>
        </p:spPr>
      </p:pic>
      <p:sp>
        <p:nvSpPr>
          <p:cNvPr id="10" name="TextBox 9">
            <a:extLst>
              <a:ext uri="{FF2B5EF4-FFF2-40B4-BE49-F238E27FC236}">
                <a16:creationId xmlns:a16="http://schemas.microsoft.com/office/drawing/2014/main" id="{DDD763E9-CE6D-7E6C-735D-E01DF9793F16}"/>
              </a:ext>
            </a:extLst>
          </p:cNvPr>
          <p:cNvSpPr txBox="1"/>
          <p:nvPr/>
        </p:nvSpPr>
        <p:spPr>
          <a:xfrm>
            <a:off x="890630" y="1244459"/>
            <a:ext cx="10610676" cy="1946943"/>
          </a:xfrm>
          <a:prstGeom prst="rect">
            <a:avLst/>
          </a:prstGeom>
          <a:noFill/>
        </p:spPr>
        <p:txBody>
          <a:bodyPr wrap="square" lIns="91440" tIns="45720" rIns="91440" bIns="45720" rtlCol="0" anchor="t">
            <a:spAutoFit/>
          </a:bodyPr>
          <a:lstStyle/>
          <a:p>
            <a:pPr marL="285750" indent="-285750">
              <a:lnSpc>
                <a:spcPct val="150000"/>
              </a:lnSpc>
              <a:buFont typeface="Wingdings" panose="05000000000000000000" pitchFamily="2" charset="2"/>
              <a:buChar char="q"/>
            </a:pPr>
            <a:r>
              <a:rPr lang="en-US" sz="1600" b="1" dirty="0"/>
              <a:t>Training data: </a:t>
            </a:r>
            <a:r>
              <a:rPr lang="en-US" sz="1600" dirty="0"/>
              <a:t>TWC High Res. (8km) Precipitation data.</a:t>
            </a:r>
          </a:p>
          <a:p>
            <a:pPr marL="285750" indent="-285750">
              <a:lnSpc>
                <a:spcPct val="150000"/>
              </a:lnSpc>
              <a:buFont typeface="Wingdings" panose="05000000000000000000" pitchFamily="2" charset="2"/>
              <a:buChar char="q"/>
            </a:pPr>
            <a:r>
              <a:rPr lang="en-US" sz="1600" b="1" dirty="0"/>
              <a:t>Input Variables: </a:t>
            </a:r>
            <a:r>
              <a:rPr lang="en-US" sz="1600" dirty="0"/>
              <a:t>model interpolated high resolution datasets (min/max/avg temperature, avg relative humidity, avg wind speed) (resampled to 8km), resampled total precipitation (ERA5), elevation, </a:t>
            </a:r>
            <a:r>
              <a:rPr lang="en-US" sz="1600" err="1"/>
              <a:t>lat</a:t>
            </a:r>
            <a:r>
              <a:rPr lang="en-US" sz="1600" dirty="0"/>
              <a:t>/</a:t>
            </a:r>
            <a:r>
              <a:rPr lang="en-US" sz="1600" err="1"/>
              <a:t>lon</a:t>
            </a:r>
            <a:r>
              <a:rPr lang="en-US" sz="1600" dirty="0"/>
              <a:t>, month.</a:t>
            </a:r>
          </a:p>
          <a:p>
            <a:pPr marL="285750" indent="-285750">
              <a:lnSpc>
                <a:spcPct val="150000"/>
              </a:lnSpc>
              <a:buFont typeface="Wingdings" panose="05000000000000000000" pitchFamily="2" charset="2"/>
              <a:buChar char="q"/>
            </a:pPr>
            <a:r>
              <a:rPr lang="en-US" b="1" dirty="0"/>
              <a:t>GOSS (</a:t>
            </a:r>
            <a:r>
              <a:rPr lang="en-US" b="1" dirty="0" err="1"/>
              <a:t>LightGBM</a:t>
            </a:r>
            <a:r>
              <a:rPr lang="en-US" b="1" dirty="0"/>
              <a:t>)</a:t>
            </a:r>
            <a:r>
              <a:rPr lang="en-US" dirty="0"/>
              <a:t> </a:t>
            </a:r>
            <a:r>
              <a:rPr lang="en-US" sz="1600" dirty="0"/>
              <a:t>overfits the model.</a:t>
            </a:r>
          </a:p>
          <a:p>
            <a:pPr marL="285750" indent="-285750">
              <a:lnSpc>
                <a:spcPct val="150000"/>
              </a:lnSpc>
              <a:buFont typeface="Wingdings" panose="05000000000000000000" pitchFamily="2" charset="2"/>
              <a:buChar char="q"/>
            </a:pPr>
            <a:r>
              <a:rPr lang="en-US" sz="1600" dirty="0"/>
              <a:t>Hyperparameter tuning failed to remove overfitting. </a:t>
            </a:r>
          </a:p>
        </p:txBody>
      </p:sp>
      <p:pic>
        <p:nvPicPr>
          <p:cNvPr id="4" name="Picture 3">
            <a:extLst>
              <a:ext uri="{FF2B5EF4-FFF2-40B4-BE49-F238E27FC236}">
                <a16:creationId xmlns:a16="http://schemas.microsoft.com/office/drawing/2014/main" id="{FD3D3A44-DBBD-C5CF-FBF1-D8AF7E66C4D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329532" y="3256289"/>
            <a:ext cx="3550031" cy="2614193"/>
          </a:xfrm>
          <a:prstGeom prst="rect">
            <a:avLst/>
          </a:prstGeom>
        </p:spPr>
      </p:pic>
      <p:sp>
        <p:nvSpPr>
          <p:cNvPr id="2" name="Slide Number Placeholder 1">
            <a:extLst>
              <a:ext uri="{FF2B5EF4-FFF2-40B4-BE49-F238E27FC236}">
                <a16:creationId xmlns:a16="http://schemas.microsoft.com/office/drawing/2014/main" id="{273AD75B-B440-73BF-172F-0AFD207882D0}"/>
              </a:ext>
            </a:extLst>
          </p:cNvPr>
          <p:cNvSpPr>
            <a:spLocks noGrp="1"/>
          </p:cNvSpPr>
          <p:nvPr>
            <p:ph type="sldNum" sz="quarter" idx="12"/>
          </p:nvPr>
        </p:nvSpPr>
        <p:spPr/>
        <p:txBody>
          <a:bodyPr/>
          <a:lstStyle/>
          <a:p>
            <a:fld id="{EEAD9179-7A6B-4268-BEB2-F3B8EB06115B}" type="slidenum">
              <a:rPr lang="en-US" noProof="0" smtClean="0"/>
              <a:t>25</a:t>
            </a:fld>
            <a:endParaRPr lang="en-US" noProof="0"/>
          </a:p>
        </p:txBody>
      </p:sp>
      <p:sp>
        <p:nvSpPr>
          <p:cNvPr id="7" name="TextBox 6">
            <a:extLst>
              <a:ext uri="{FF2B5EF4-FFF2-40B4-BE49-F238E27FC236}">
                <a16:creationId xmlns:a16="http://schemas.microsoft.com/office/drawing/2014/main" id="{4FD26440-7283-8187-931C-9A2076A55614}"/>
              </a:ext>
            </a:extLst>
          </p:cNvPr>
          <p:cNvSpPr txBox="1"/>
          <p:nvPr/>
        </p:nvSpPr>
        <p:spPr>
          <a:xfrm>
            <a:off x="865388" y="5961530"/>
            <a:ext cx="2743200" cy="523220"/>
          </a:xfrm>
          <a:prstGeom prst="rect">
            <a:avLst/>
          </a:prstGeom>
          <a:noFill/>
        </p:spPr>
        <p:txBody>
          <a:bodyPr wrap="square" rtlCol="0">
            <a:spAutoFit/>
          </a:bodyPr>
          <a:lstStyle/>
          <a:p>
            <a:pPr algn="ctr"/>
            <a:r>
              <a:rPr lang="en-US" sz="1400" i="1" dirty="0"/>
              <a:t>resampled ERA5 data (8km) vs </a:t>
            </a:r>
          </a:p>
          <a:p>
            <a:pPr algn="ctr"/>
            <a:r>
              <a:rPr lang="en-US" sz="1400" i="1" dirty="0"/>
              <a:t>TWC Data (8km)</a:t>
            </a:r>
            <a:endParaRPr lang="en-US" sz="1400" dirty="0"/>
          </a:p>
        </p:txBody>
      </p:sp>
      <p:sp>
        <p:nvSpPr>
          <p:cNvPr id="8" name="TextBox 7">
            <a:extLst>
              <a:ext uri="{FF2B5EF4-FFF2-40B4-BE49-F238E27FC236}">
                <a16:creationId xmlns:a16="http://schemas.microsoft.com/office/drawing/2014/main" id="{203D7B8F-E699-0F7B-F591-9A5FC71526DB}"/>
              </a:ext>
            </a:extLst>
          </p:cNvPr>
          <p:cNvSpPr txBox="1"/>
          <p:nvPr/>
        </p:nvSpPr>
        <p:spPr>
          <a:xfrm>
            <a:off x="4488170" y="5935369"/>
            <a:ext cx="3209925" cy="738664"/>
          </a:xfrm>
          <a:prstGeom prst="rect">
            <a:avLst/>
          </a:prstGeom>
          <a:noFill/>
        </p:spPr>
        <p:txBody>
          <a:bodyPr wrap="square" rtlCol="0">
            <a:spAutoFit/>
          </a:bodyPr>
          <a:lstStyle/>
          <a:p>
            <a:pPr algn="ctr"/>
            <a:r>
              <a:rPr lang="en-US" sz="1400" i="1" dirty="0"/>
              <a:t>model interpolated ERA5 data (8km) vs </a:t>
            </a:r>
          </a:p>
          <a:p>
            <a:pPr algn="ctr"/>
            <a:r>
              <a:rPr lang="en-US" sz="1400" i="1" dirty="0"/>
              <a:t>TWC Data (8km)</a:t>
            </a:r>
          </a:p>
          <a:p>
            <a:pPr algn="ctr"/>
            <a:r>
              <a:rPr lang="en-US" sz="1400" dirty="0"/>
              <a:t>(</a:t>
            </a:r>
            <a:r>
              <a:rPr lang="en-US" sz="1400" dirty="0">
                <a:solidFill>
                  <a:srgbClr val="7030A0"/>
                </a:solidFill>
              </a:rPr>
              <a:t>train</a:t>
            </a:r>
            <a:r>
              <a:rPr lang="en-US" sz="1400" dirty="0"/>
              <a:t> set)</a:t>
            </a:r>
          </a:p>
        </p:txBody>
      </p:sp>
      <p:sp>
        <p:nvSpPr>
          <p:cNvPr id="11" name="TextBox 10">
            <a:extLst>
              <a:ext uri="{FF2B5EF4-FFF2-40B4-BE49-F238E27FC236}">
                <a16:creationId xmlns:a16="http://schemas.microsoft.com/office/drawing/2014/main" id="{8F066125-9191-2409-EB91-B3F97BFD33F4}"/>
              </a:ext>
            </a:extLst>
          </p:cNvPr>
          <p:cNvSpPr txBox="1"/>
          <p:nvPr/>
        </p:nvSpPr>
        <p:spPr>
          <a:xfrm>
            <a:off x="8271893" y="5935369"/>
            <a:ext cx="3324225" cy="738664"/>
          </a:xfrm>
          <a:prstGeom prst="rect">
            <a:avLst/>
          </a:prstGeom>
          <a:noFill/>
        </p:spPr>
        <p:txBody>
          <a:bodyPr wrap="square" rtlCol="0">
            <a:spAutoFit/>
          </a:bodyPr>
          <a:lstStyle/>
          <a:p>
            <a:pPr algn="ctr"/>
            <a:r>
              <a:rPr lang="en-US" sz="1400" i="1" dirty="0"/>
              <a:t>model interpolated ERA5 data (8km) vs </a:t>
            </a:r>
          </a:p>
          <a:p>
            <a:pPr algn="ctr"/>
            <a:r>
              <a:rPr lang="en-US" sz="1400" i="1" dirty="0"/>
              <a:t>TWC Data (8km)</a:t>
            </a:r>
          </a:p>
          <a:p>
            <a:pPr algn="ctr"/>
            <a:r>
              <a:rPr lang="en-US" sz="1400" dirty="0"/>
              <a:t>(</a:t>
            </a:r>
            <a:r>
              <a:rPr lang="en-US" sz="1400" dirty="0">
                <a:solidFill>
                  <a:schemeClr val="accent2">
                    <a:lumMod val="75000"/>
                  </a:schemeClr>
                </a:solidFill>
              </a:rPr>
              <a:t>test</a:t>
            </a:r>
            <a:r>
              <a:rPr lang="en-US" sz="1400" dirty="0"/>
              <a:t> set)</a:t>
            </a:r>
          </a:p>
        </p:txBody>
      </p:sp>
      <p:sp>
        <p:nvSpPr>
          <p:cNvPr id="5" name="TextBox 4">
            <a:extLst>
              <a:ext uri="{FF2B5EF4-FFF2-40B4-BE49-F238E27FC236}">
                <a16:creationId xmlns:a16="http://schemas.microsoft.com/office/drawing/2014/main" id="{928ADAB0-2521-2F4C-A186-D157315588B6}"/>
              </a:ext>
            </a:extLst>
          </p:cNvPr>
          <p:cNvSpPr txBox="1"/>
          <p:nvPr/>
        </p:nvSpPr>
        <p:spPr>
          <a:xfrm>
            <a:off x="865388" y="3360036"/>
            <a:ext cx="415265" cy="276999"/>
          </a:xfrm>
          <a:prstGeom prst="rect">
            <a:avLst/>
          </a:prstGeom>
          <a:solidFill>
            <a:schemeClr val="bg1"/>
          </a:solidFill>
        </p:spPr>
        <p:txBody>
          <a:bodyPr wrap="square" rtlCol="0">
            <a:spAutoFit/>
          </a:bodyPr>
          <a:lstStyle/>
          <a:p>
            <a:pPr algn="r"/>
            <a:r>
              <a:rPr lang="en-US" sz="1200" dirty="0"/>
              <a:t>R</a:t>
            </a:r>
            <a:r>
              <a:rPr lang="en-US" sz="1200" baseline="30000" dirty="0"/>
              <a:t>2</a:t>
            </a:r>
            <a:r>
              <a:rPr lang="en-US" sz="1200" dirty="0"/>
              <a:t>:</a:t>
            </a:r>
          </a:p>
        </p:txBody>
      </p:sp>
      <p:sp>
        <p:nvSpPr>
          <p:cNvPr id="12" name="TextBox 11">
            <a:extLst>
              <a:ext uri="{FF2B5EF4-FFF2-40B4-BE49-F238E27FC236}">
                <a16:creationId xmlns:a16="http://schemas.microsoft.com/office/drawing/2014/main" id="{227954B6-5A60-968D-525D-058922609EBB}"/>
              </a:ext>
            </a:extLst>
          </p:cNvPr>
          <p:cNvSpPr txBox="1"/>
          <p:nvPr/>
        </p:nvSpPr>
        <p:spPr>
          <a:xfrm>
            <a:off x="4672404" y="3378950"/>
            <a:ext cx="415265" cy="276999"/>
          </a:xfrm>
          <a:prstGeom prst="rect">
            <a:avLst/>
          </a:prstGeom>
          <a:solidFill>
            <a:schemeClr val="bg1"/>
          </a:solidFill>
        </p:spPr>
        <p:txBody>
          <a:bodyPr wrap="square" rtlCol="0">
            <a:spAutoFit/>
          </a:bodyPr>
          <a:lstStyle/>
          <a:p>
            <a:pPr algn="r"/>
            <a:r>
              <a:rPr lang="en-US" sz="1200" dirty="0"/>
              <a:t>R</a:t>
            </a:r>
            <a:r>
              <a:rPr lang="en-US" sz="1200" baseline="30000" dirty="0"/>
              <a:t>2</a:t>
            </a:r>
            <a:r>
              <a:rPr lang="en-US" sz="1200" dirty="0"/>
              <a:t>:</a:t>
            </a:r>
          </a:p>
        </p:txBody>
      </p:sp>
      <p:sp>
        <p:nvSpPr>
          <p:cNvPr id="13" name="TextBox 12">
            <a:extLst>
              <a:ext uri="{FF2B5EF4-FFF2-40B4-BE49-F238E27FC236}">
                <a16:creationId xmlns:a16="http://schemas.microsoft.com/office/drawing/2014/main" id="{74C80300-FCA7-F168-3524-875E4815B852}"/>
              </a:ext>
            </a:extLst>
          </p:cNvPr>
          <p:cNvSpPr txBox="1"/>
          <p:nvPr/>
        </p:nvSpPr>
        <p:spPr>
          <a:xfrm>
            <a:off x="8477768" y="3355705"/>
            <a:ext cx="415265" cy="276999"/>
          </a:xfrm>
          <a:prstGeom prst="rect">
            <a:avLst/>
          </a:prstGeom>
          <a:solidFill>
            <a:schemeClr val="bg1"/>
          </a:solidFill>
        </p:spPr>
        <p:txBody>
          <a:bodyPr wrap="square" rtlCol="0">
            <a:spAutoFit/>
          </a:bodyPr>
          <a:lstStyle/>
          <a:p>
            <a:pPr algn="r"/>
            <a:r>
              <a:rPr lang="en-US" sz="1200" dirty="0"/>
              <a:t>R</a:t>
            </a:r>
            <a:r>
              <a:rPr lang="en-US" sz="1200" baseline="30000" dirty="0"/>
              <a:t>2</a:t>
            </a:r>
            <a:r>
              <a:rPr lang="en-US" sz="1200" dirty="0"/>
              <a:t>:</a:t>
            </a:r>
          </a:p>
        </p:txBody>
      </p:sp>
    </p:spTree>
    <p:extLst>
      <p:ext uri="{BB962C8B-B14F-4D97-AF65-F5344CB8AC3E}">
        <p14:creationId xmlns:p14="http://schemas.microsoft.com/office/powerpoint/2010/main" val="3100683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1000"/>
                                        <p:tgtEl>
                                          <p:spTgt spid="7"/>
                                        </p:tgtEl>
                                      </p:cBhvr>
                                    </p:animEffect>
                                    <p:anim calcmode="lin" valueType="num">
                                      <p:cBhvr>
                                        <p:cTn id="13" dur="1000" fill="hold"/>
                                        <p:tgtEl>
                                          <p:spTgt spid="7"/>
                                        </p:tgtEl>
                                        <p:attrNameLst>
                                          <p:attrName>ppt_x</p:attrName>
                                        </p:attrNameLst>
                                      </p:cBhvr>
                                      <p:tavLst>
                                        <p:tav tm="0">
                                          <p:val>
                                            <p:strVal val="#ppt_x"/>
                                          </p:val>
                                        </p:tav>
                                        <p:tav tm="100000">
                                          <p:val>
                                            <p:strVal val="#ppt_x"/>
                                          </p:val>
                                        </p:tav>
                                      </p:tavLst>
                                    </p:anim>
                                    <p:anim calcmode="lin" valueType="num">
                                      <p:cBhvr>
                                        <p:cTn id="14" dur="1000" fill="hold"/>
                                        <p:tgtEl>
                                          <p:spTgt spid="7"/>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1000"/>
                                        <p:tgtEl>
                                          <p:spTgt spid="5"/>
                                        </p:tgtEl>
                                      </p:cBhvr>
                                    </p:animEffect>
                                    <p:anim calcmode="lin" valueType="num">
                                      <p:cBhvr>
                                        <p:cTn id="18" dur="1000" fill="hold"/>
                                        <p:tgtEl>
                                          <p:spTgt spid="5"/>
                                        </p:tgtEl>
                                        <p:attrNameLst>
                                          <p:attrName>ppt_x</p:attrName>
                                        </p:attrNameLst>
                                      </p:cBhvr>
                                      <p:tavLst>
                                        <p:tav tm="0">
                                          <p:val>
                                            <p:strVal val="#ppt_x"/>
                                          </p:val>
                                        </p:tav>
                                        <p:tav tm="100000">
                                          <p:val>
                                            <p:strVal val="#ppt_x"/>
                                          </p:val>
                                        </p:tav>
                                      </p:tavLst>
                                    </p:anim>
                                    <p:anim calcmode="lin" valueType="num">
                                      <p:cBhvr>
                                        <p:cTn id="1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grpId="0" nodeType="click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fade">
                                      <p:cBhvr>
                                        <p:cTn id="24" dur="1000"/>
                                        <p:tgtEl>
                                          <p:spTgt spid="8"/>
                                        </p:tgtEl>
                                      </p:cBhvr>
                                    </p:animEffect>
                                    <p:anim calcmode="lin" valueType="num">
                                      <p:cBhvr>
                                        <p:cTn id="25" dur="1000" fill="hold"/>
                                        <p:tgtEl>
                                          <p:spTgt spid="8"/>
                                        </p:tgtEl>
                                        <p:attrNameLst>
                                          <p:attrName>ppt_x</p:attrName>
                                        </p:attrNameLst>
                                      </p:cBhvr>
                                      <p:tavLst>
                                        <p:tav tm="0">
                                          <p:val>
                                            <p:strVal val="#ppt_x"/>
                                          </p:val>
                                        </p:tav>
                                        <p:tav tm="100000">
                                          <p:val>
                                            <p:strVal val="#ppt_x"/>
                                          </p:val>
                                        </p:tav>
                                      </p:tavLst>
                                    </p:anim>
                                    <p:anim calcmode="lin" valueType="num">
                                      <p:cBhvr>
                                        <p:cTn id="26" dur="1000" fill="hold"/>
                                        <p:tgtEl>
                                          <p:spTgt spid="8"/>
                                        </p:tgtEl>
                                        <p:attrNameLst>
                                          <p:attrName>ppt_y</p:attrName>
                                        </p:attrNameLst>
                                      </p:cBhvr>
                                      <p:tavLst>
                                        <p:tav tm="0">
                                          <p:val>
                                            <p:strVal val="#ppt_y+.1"/>
                                          </p:val>
                                        </p:tav>
                                        <p:tav tm="100000">
                                          <p:val>
                                            <p:strVal val="#ppt_y"/>
                                          </p:val>
                                        </p:tav>
                                      </p:tavLst>
                                    </p:anim>
                                  </p:childTnLst>
                                </p:cTn>
                              </p:par>
                              <p:par>
                                <p:cTn id="27" presetID="42" presetClass="entr" presetSubtype="0" fill="hold" nodeType="with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1000"/>
                                        <p:tgtEl>
                                          <p:spTgt spid="6"/>
                                        </p:tgtEl>
                                      </p:cBhvr>
                                    </p:animEffect>
                                    <p:anim calcmode="lin" valueType="num">
                                      <p:cBhvr>
                                        <p:cTn id="30" dur="1000" fill="hold"/>
                                        <p:tgtEl>
                                          <p:spTgt spid="6"/>
                                        </p:tgtEl>
                                        <p:attrNameLst>
                                          <p:attrName>ppt_x</p:attrName>
                                        </p:attrNameLst>
                                      </p:cBhvr>
                                      <p:tavLst>
                                        <p:tav tm="0">
                                          <p:val>
                                            <p:strVal val="#ppt_x"/>
                                          </p:val>
                                        </p:tav>
                                        <p:tav tm="100000">
                                          <p:val>
                                            <p:strVal val="#ppt_x"/>
                                          </p:val>
                                        </p:tav>
                                      </p:tavLst>
                                    </p:anim>
                                    <p:anim calcmode="lin" valueType="num">
                                      <p:cBhvr>
                                        <p:cTn id="31" dur="1000" fill="hold"/>
                                        <p:tgtEl>
                                          <p:spTgt spid="6"/>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1000"/>
                                        <p:tgtEl>
                                          <p:spTgt spid="12"/>
                                        </p:tgtEl>
                                      </p:cBhvr>
                                    </p:animEffect>
                                    <p:anim calcmode="lin" valueType="num">
                                      <p:cBhvr>
                                        <p:cTn id="35" dur="1000" fill="hold"/>
                                        <p:tgtEl>
                                          <p:spTgt spid="12"/>
                                        </p:tgtEl>
                                        <p:attrNameLst>
                                          <p:attrName>ppt_x</p:attrName>
                                        </p:attrNameLst>
                                      </p:cBhvr>
                                      <p:tavLst>
                                        <p:tav tm="0">
                                          <p:val>
                                            <p:strVal val="#ppt_x"/>
                                          </p:val>
                                        </p:tav>
                                        <p:tav tm="100000">
                                          <p:val>
                                            <p:strVal val="#ppt_x"/>
                                          </p:val>
                                        </p:tav>
                                      </p:tavLst>
                                    </p:anim>
                                    <p:anim calcmode="lin" valueType="num">
                                      <p:cBhvr>
                                        <p:cTn id="36"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42" presetClass="entr" presetSubtype="0" fill="hold" nodeType="clickEffect">
                                  <p:stCondLst>
                                    <p:cond delay="0"/>
                                  </p:stCondLst>
                                  <p:childTnLst>
                                    <p:set>
                                      <p:cBhvr>
                                        <p:cTn id="40" dur="1" fill="hold">
                                          <p:stCondLst>
                                            <p:cond delay="0"/>
                                          </p:stCondLst>
                                        </p:cTn>
                                        <p:tgtEl>
                                          <p:spTgt spid="3"/>
                                        </p:tgtEl>
                                        <p:attrNameLst>
                                          <p:attrName>style.visibility</p:attrName>
                                        </p:attrNameLst>
                                      </p:cBhvr>
                                      <p:to>
                                        <p:strVal val="visible"/>
                                      </p:to>
                                    </p:set>
                                    <p:animEffect transition="in" filter="fade">
                                      <p:cBhvr>
                                        <p:cTn id="41" dur="1000"/>
                                        <p:tgtEl>
                                          <p:spTgt spid="3"/>
                                        </p:tgtEl>
                                      </p:cBhvr>
                                    </p:animEffect>
                                    <p:anim calcmode="lin" valueType="num">
                                      <p:cBhvr>
                                        <p:cTn id="42" dur="1000" fill="hold"/>
                                        <p:tgtEl>
                                          <p:spTgt spid="3"/>
                                        </p:tgtEl>
                                        <p:attrNameLst>
                                          <p:attrName>ppt_x</p:attrName>
                                        </p:attrNameLst>
                                      </p:cBhvr>
                                      <p:tavLst>
                                        <p:tav tm="0">
                                          <p:val>
                                            <p:strVal val="#ppt_x"/>
                                          </p:val>
                                        </p:tav>
                                        <p:tav tm="100000">
                                          <p:val>
                                            <p:strVal val="#ppt_x"/>
                                          </p:val>
                                        </p:tav>
                                      </p:tavLst>
                                    </p:anim>
                                    <p:anim calcmode="lin" valueType="num">
                                      <p:cBhvr>
                                        <p:cTn id="43" dur="1000" fill="hold"/>
                                        <p:tgtEl>
                                          <p:spTgt spid="3"/>
                                        </p:tgtEl>
                                        <p:attrNameLst>
                                          <p:attrName>ppt_y</p:attrName>
                                        </p:attrNameLst>
                                      </p:cBhvr>
                                      <p:tavLst>
                                        <p:tav tm="0">
                                          <p:val>
                                            <p:strVal val="#ppt_y+.1"/>
                                          </p:val>
                                        </p:tav>
                                        <p:tav tm="100000">
                                          <p:val>
                                            <p:strVal val="#ppt_y"/>
                                          </p:val>
                                        </p:tav>
                                      </p:tavLst>
                                    </p:anim>
                                  </p:childTnLst>
                                </p:cTn>
                              </p:par>
                              <p:par>
                                <p:cTn id="44" presetID="42" presetClass="entr" presetSubtype="0" fill="hold" grpId="0" nodeType="withEffect">
                                  <p:stCondLst>
                                    <p:cond delay="0"/>
                                  </p:stCondLst>
                                  <p:childTnLst>
                                    <p:set>
                                      <p:cBhvr>
                                        <p:cTn id="45" dur="1" fill="hold">
                                          <p:stCondLst>
                                            <p:cond delay="0"/>
                                          </p:stCondLst>
                                        </p:cTn>
                                        <p:tgtEl>
                                          <p:spTgt spid="11"/>
                                        </p:tgtEl>
                                        <p:attrNameLst>
                                          <p:attrName>style.visibility</p:attrName>
                                        </p:attrNameLst>
                                      </p:cBhvr>
                                      <p:to>
                                        <p:strVal val="visible"/>
                                      </p:to>
                                    </p:set>
                                    <p:animEffect transition="in" filter="fade">
                                      <p:cBhvr>
                                        <p:cTn id="46" dur="1000"/>
                                        <p:tgtEl>
                                          <p:spTgt spid="11"/>
                                        </p:tgtEl>
                                      </p:cBhvr>
                                    </p:animEffect>
                                    <p:anim calcmode="lin" valueType="num">
                                      <p:cBhvr>
                                        <p:cTn id="47" dur="1000" fill="hold"/>
                                        <p:tgtEl>
                                          <p:spTgt spid="11"/>
                                        </p:tgtEl>
                                        <p:attrNameLst>
                                          <p:attrName>ppt_x</p:attrName>
                                        </p:attrNameLst>
                                      </p:cBhvr>
                                      <p:tavLst>
                                        <p:tav tm="0">
                                          <p:val>
                                            <p:strVal val="#ppt_x"/>
                                          </p:val>
                                        </p:tav>
                                        <p:tav tm="100000">
                                          <p:val>
                                            <p:strVal val="#ppt_x"/>
                                          </p:val>
                                        </p:tav>
                                      </p:tavLst>
                                    </p:anim>
                                    <p:anim calcmode="lin" valueType="num">
                                      <p:cBhvr>
                                        <p:cTn id="48" dur="1000" fill="hold"/>
                                        <p:tgtEl>
                                          <p:spTgt spid="11"/>
                                        </p:tgtEl>
                                        <p:attrNameLst>
                                          <p:attrName>ppt_y</p:attrName>
                                        </p:attrNameLst>
                                      </p:cBhvr>
                                      <p:tavLst>
                                        <p:tav tm="0">
                                          <p:val>
                                            <p:strVal val="#ppt_y+.1"/>
                                          </p:val>
                                        </p:tav>
                                        <p:tav tm="100000">
                                          <p:val>
                                            <p:strVal val="#ppt_y"/>
                                          </p:val>
                                        </p:tav>
                                      </p:tavLst>
                                    </p:anim>
                                  </p:childTnLst>
                                </p:cTn>
                              </p:par>
                              <p:par>
                                <p:cTn id="49" presetID="42" presetClass="entr" presetSubtype="0" fill="hold" grpId="0" nodeType="withEffect">
                                  <p:stCondLst>
                                    <p:cond delay="0"/>
                                  </p:stCondLst>
                                  <p:childTnLst>
                                    <p:set>
                                      <p:cBhvr>
                                        <p:cTn id="50" dur="1" fill="hold">
                                          <p:stCondLst>
                                            <p:cond delay="0"/>
                                          </p:stCondLst>
                                        </p:cTn>
                                        <p:tgtEl>
                                          <p:spTgt spid="13"/>
                                        </p:tgtEl>
                                        <p:attrNameLst>
                                          <p:attrName>style.visibility</p:attrName>
                                        </p:attrNameLst>
                                      </p:cBhvr>
                                      <p:to>
                                        <p:strVal val="visible"/>
                                      </p:to>
                                    </p:set>
                                    <p:animEffect transition="in" filter="fade">
                                      <p:cBhvr>
                                        <p:cTn id="51" dur="1000"/>
                                        <p:tgtEl>
                                          <p:spTgt spid="13"/>
                                        </p:tgtEl>
                                      </p:cBhvr>
                                    </p:animEffect>
                                    <p:anim calcmode="lin" valueType="num">
                                      <p:cBhvr>
                                        <p:cTn id="52" dur="1000" fill="hold"/>
                                        <p:tgtEl>
                                          <p:spTgt spid="13"/>
                                        </p:tgtEl>
                                        <p:attrNameLst>
                                          <p:attrName>ppt_x</p:attrName>
                                        </p:attrNameLst>
                                      </p:cBhvr>
                                      <p:tavLst>
                                        <p:tav tm="0">
                                          <p:val>
                                            <p:strVal val="#ppt_x"/>
                                          </p:val>
                                        </p:tav>
                                        <p:tav tm="100000">
                                          <p:val>
                                            <p:strVal val="#ppt_x"/>
                                          </p:val>
                                        </p:tav>
                                      </p:tavLst>
                                    </p:anim>
                                    <p:anim calcmode="lin" valueType="num">
                                      <p:cBhvr>
                                        <p:cTn id="53"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11" grpId="0"/>
      <p:bldP spid="5" grpId="0" animBg="1"/>
      <p:bldP spid="12" grpId="0" animBg="1"/>
      <p:bldP spid="13"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865388" y="308973"/>
            <a:ext cx="9771851" cy="86591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i="1" u="sng">
                <a:solidFill>
                  <a:schemeClr val="accent1">
                    <a:lumMod val="50000"/>
                  </a:schemeClr>
                </a:solidFill>
                <a:latin typeface="Calibri Light" panose="020F0302020204030204" pitchFamily="34" charset="0"/>
              </a:rPr>
              <a:t>DL Model Results : </a:t>
            </a:r>
            <a:r>
              <a:rPr lang="en-US" sz="4000" b="1" i="1" u="sng">
                <a:solidFill>
                  <a:schemeClr val="accent1">
                    <a:lumMod val="50000"/>
                  </a:schemeClr>
                </a:solidFill>
                <a:latin typeface="Calibri Light" panose="020F0302020204030204" pitchFamily="34" charset="0"/>
              </a:rPr>
              <a:t>Total Precipitation</a:t>
            </a:r>
            <a:endParaRPr lang="en-US" sz="4000" b="1" i="1" u="sng">
              <a:solidFill>
                <a:schemeClr val="accent1">
                  <a:lumMod val="50000"/>
                </a:schemeClr>
              </a:solidFill>
            </a:endParaRPr>
          </a:p>
        </p:txBody>
      </p:sp>
      <p:sp>
        <p:nvSpPr>
          <p:cNvPr id="10" name="TextBox 9">
            <a:extLst>
              <a:ext uri="{FF2B5EF4-FFF2-40B4-BE49-F238E27FC236}">
                <a16:creationId xmlns:a16="http://schemas.microsoft.com/office/drawing/2014/main" id="{DDD763E9-CE6D-7E6C-735D-E01DF9793F16}"/>
              </a:ext>
            </a:extLst>
          </p:cNvPr>
          <p:cNvSpPr txBox="1"/>
          <p:nvPr/>
        </p:nvSpPr>
        <p:spPr>
          <a:xfrm>
            <a:off x="890629" y="1244459"/>
            <a:ext cx="10510795" cy="838948"/>
          </a:xfrm>
          <a:prstGeom prst="rect">
            <a:avLst/>
          </a:prstGeom>
          <a:noFill/>
        </p:spPr>
        <p:txBody>
          <a:bodyPr wrap="square" rtlCol="0">
            <a:spAutoFit/>
          </a:bodyPr>
          <a:lstStyle/>
          <a:p>
            <a:pPr marL="285750" indent="-285750">
              <a:lnSpc>
                <a:spcPct val="150000"/>
              </a:lnSpc>
              <a:buFont typeface="Wingdings" panose="05000000000000000000" pitchFamily="2" charset="2"/>
              <a:buChar char="q"/>
            </a:pPr>
            <a:r>
              <a:rPr lang="en-US" b="1"/>
              <a:t>Multi-Layered </a:t>
            </a:r>
            <a:r>
              <a:rPr lang="en-US" b="1" err="1"/>
              <a:t>Perceptrons</a:t>
            </a:r>
            <a:r>
              <a:rPr lang="en-US" b="1"/>
              <a:t> (MLP) </a:t>
            </a:r>
            <a:r>
              <a:rPr lang="en-US" sz="1600"/>
              <a:t>Deep Learning model overcomes overfitting to some extent.</a:t>
            </a:r>
          </a:p>
          <a:p>
            <a:pPr marL="285750" indent="-285750">
              <a:lnSpc>
                <a:spcPct val="150000"/>
              </a:lnSpc>
              <a:buFont typeface="Wingdings" panose="05000000000000000000" pitchFamily="2" charset="2"/>
              <a:buChar char="q"/>
            </a:pPr>
            <a:r>
              <a:rPr lang="en-US" sz="1600"/>
              <a:t>Model performance </a:t>
            </a:r>
            <a:r>
              <a:rPr lang="en-US" sz="1600">
                <a:solidFill>
                  <a:srgbClr val="FF0000"/>
                </a:solidFill>
              </a:rPr>
              <a:t>doesn’t</a:t>
            </a:r>
            <a:r>
              <a:rPr lang="en-US" sz="1600"/>
              <a:t> improve.</a:t>
            </a:r>
          </a:p>
        </p:txBody>
      </p:sp>
      <p:sp>
        <p:nvSpPr>
          <p:cNvPr id="2" name="Slide Number Placeholder 1">
            <a:extLst>
              <a:ext uri="{FF2B5EF4-FFF2-40B4-BE49-F238E27FC236}">
                <a16:creationId xmlns:a16="http://schemas.microsoft.com/office/drawing/2014/main" id="{1C82C6A7-0B60-5904-7191-52D87BAE4CAA}"/>
              </a:ext>
            </a:extLst>
          </p:cNvPr>
          <p:cNvSpPr>
            <a:spLocks noGrp="1"/>
          </p:cNvSpPr>
          <p:nvPr>
            <p:ph type="sldNum" sz="quarter" idx="12"/>
          </p:nvPr>
        </p:nvSpPr>
        <p:spPr/>
        <p:txBody>
          <a:bodyPr/>
          <a:lstStyle/>
          <a:p>
            <a:fld id="{EEAD9179-7A6B-4268-BEB2-F3B8EB06115B}" type="slidenum">
              <a:rPr lang="en-US" noProof="0" smtClean="0"/>
              <a:t>26</a:t>
            </a:fld>
            <a:endParaRPr lang="en-US" noProof="0"/>
          </a:p>
        </p:txBody>
      </p:sp>
      <p:pic>
        <p:nvPicPr>
          <p:cNvPr id="3" name="Picture 2">
            <a:extLst>
              <a:ext uri="{FF2B5EF4-FFF2-40B4-BE49-F238E27FC236}">
                <a16:creationId xmlns:a16="http://schemas.microsoft.com/office/drawing/2014/main" id="{55F34D01-6534-BB1B-5C22-2FAC3A80633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147532" y="2498978"/>
            <a:ext cx="3518678" cy="2595675"/>
          </a:xfrm>
          <a:prstGeom prst="rect">
            <a:avLst/>
          </a:prstGeom>
        </p:spPr>
      </p:pic>
      <p:pic>
        <p:nvPicPr>
          <p:cNvPr id="4" name="Picture 3">
            <a:extLst>
              <a:ext uri="{FF2B5EF4-FFF2-40B4-BE49-F238E27FC236}">
                <a16:creationId xmlns:a16="http://schemas.microsoft.com/office/drawing/2014/main" id="{3730187A-DDEF-53A2-3532-E1B080B668E4}"/>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4335933" y="2506914"/>
            <a:ext cx="3520133" cy="2592647"/>
          </a:xfrm>
          <a:prstGeom prst="rect">
            <a:avLst/>
          </a:prstGeom>
        </p:spPr>
      </p:pic>
      <p:pic>
        <p:nvPicPr>
          <p:cNvPr id="6" name="Picture 5">
            <a:extLst>
              <a:ext uri="{FF2B5EF4-FFF2-40B4-BE49-F238E27FC236}">
                <a16:creationId xmlns:a16="http://schemas.microsoft.com/office/drawing/2014/main" id="{048B83B6-90B2-6A56-2877-709E60CB0BF8}"/>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02504" y="2496141"/>
            <a:ext cx="3550031" cy="2614193"/>
          </a:xfrm>
          <a:prstGeom prst="rect">
            <a:avLst/>
          </a:prstGeom>
        </p:spPr>
      </p:pic>
      <p:sp>
        <p:nvSpPr>
          <p:cNvPr id="15" name="TextBox 14">
            <a:extLst>
              <a:ext uri="{FF2B5EF4-FFF2-40B4-BE49-F238E27FC236}">
                <a16:creationId xmlns:a16="http://schemas.microsoft.com/office/drawing/2014/main" id="{284698FD-408B-BDA8-0B46-03D08E09360F}"/>
              </a:ext>
            </a:extLst>
          </p:cNvPr>
          <p:cNvSpPr txBox="1"/>
          <p:nvPr/>
        </p:nvSpPr>
        <p:spPr>
          <a:xfrm>
            <a:off x="1038360" y="5201382"/>
            <a:ext cx="2743200" cy="523220"/>
          </a:xfrm>
          <a:prstGeom prst="rect">
            <a:avLst/>
          </a:prstGeom>
          <a:noFill/>
        </p:spPr>
        <p:txBody>
          <a:bodyPr wrap="square" rtlCol="0">
            <a:spAutoFit/>
          </a:bodyPr>
          <a:lstStyle/>
          <a:p>
            <a:pPr algn="ctr"/>
            <a:r>
              <a:rPr lang="en-US" sz="1400" i="1"/>
              <a:t>resampled ERA5 data (4km) vs </a:t>
            </a:r>
          </a:p>
          <a:p>
            <a:pPr algn="ctr"/>
            <a:r>
              <a:rPr lang="en-US" sz="1400" i="1"/>
              <a:t>TWC Data (4km)</a:t>
            </a:r>
            <a:endParaRPr lang="en-US" sz="1400"/>
          </a:p>
        </p:txBody>
      </p:sp>
      <p:sp>
        <p:nvSpPr>
          <p:cNvPr id="16" name="TextBox 15">
            <a:extLst>
              <a:ext uri="{FF2B5EF4-FFF2-40B4-BE49-F238E27FC236}">
                <a16:creationId xmlns:a16="http://schemas.microsoft.com/office/drawing/2014/main" id="{8ECD6CE6-69D3-78B9-8E18-25AD59E4A71B}"/>
              </a:ext>
            </a:extLst>
          </p:cNvPr>
          <p:cNvSpPr txBox="1"/>
          <p:nvPr/>
        </p:nvSpPr>
        <p:spPr>
          <a:xfrm>
            <a:off x="4661142" y="5175221"/>
            <a:ext cx="3209925" cy="738664"/>
          </a:xfrm>
          <a:prstGeom prst="rect">
            <a:avLst/>
          </a:prstGeom>
          <a:noFill/>
        </p:spPr>
        <p:txBody>
          <a:bodyPr wrap="square" rtlCol="0">
            <a:spAutoFit/>
          </a:bodyPr>
          <a:lstStyle/>
          <a:p>
            <a:pPr algn="ctr"/>
            <a:r>
              <a:rPr lang="en-US" sz="1400" i="1"/>
              <a:t>model interpolated ERA5 data (4km) vs </a:t>
            </a:r>
          </a:p>
          <a:p>
            <a:pPr algn="ctr"/>
            <a:r>
              <a:rPr lang="en-US" sz="1400" i="1"/>
              <a:t>TWC Data (4km)</a:t>
            </a:r>
          </a:p>
          <a:p>
            <a:pPr algn="ctr"/>
            <a:r>
              <a:rPr lang="en-US" sz="1400"/>
              <a:t>(</a:t>
            </a:r>
            <a:r>
              <a:rPr lang="en-US" sz="1400">
                <a:solidFill>
                  <a:srgbClr val="7030A0"/>
                </a:solidFill>
              </a:rPr>
              <a:t>train</a:t>
            </a:r>
            <a:r>
              <a:rPr lang="en-US" sz="1400"/>
              <a:t> set)</a:t>
            </a:r>
          </a:p>
        </p:txBody>
      </p:sp>
      <p:sp>
        <p:nvSpPr>
          <p:cNvPr id="17" name="TextBox 16">
            <a:extLst>
              <a:ext uri="{FF2B5EF4-FFF2-40B4-BE49-F238E27FC236}">
                <a16:creationId xmlns:a16="http://schemas.microsoft.com/office/drawing/2014/main" id="{4A85A3A9-4CA3-0AC7-5AC0-EFA7296F9A6B}"/>
              </a:ext>
            </a:extLst>
          </p:cNvPr>
          <p:cNvSpPr txBox="1"/>
          <p:nvPr/>
        </p:nvSpPr>
        <p:spPr>
          <a:xfrm>
            <a:off x="8400260" y="5175221"/>
            <a:ext cx="3324225" cy="738664"/>
          </a:xfrm>
          <a:prstGeom prst="rect">
            <a:avLst/>
          </a:prstGeom>
          <a:noFill/>
        </p:spPr>
        <p:txBody>
          <a:bodyPr wrap="square" rtlCol="0">
            <a:spAutoFit/>
          </a:bodyPr>
          <a:lstStyle/>
          <a:p>
            <a:pPr algn="ctr"/>
            <a:r>
              <a:rPr lang="en-US" sz="1400" i="1"/>
              <a:t>model interpolated ERA5 data (4km) vs </a:t>
            </a:r>
          </a:p>
          <a:p>
            <a:pPr algn="ctr"/>
            <a:r>
              <a:rPr lang="en-US" sz="1400" i="1"/>
              <a:t>TWC Data (4km)</a:t>
            </a:r>
          </a:p>
          <a:p>
            <a:pPr algn="ctr"/>
            <a:r>
              <a:rPr lang="en-US" sz="1400"/>
              <a:t>(</a:t>
            </a:r>
            <a:r>
              <a:rPr lang="en-US" sz="1400">
                <a:solidFill>
                  <a:schemeClr val="accent2">
                    <a:lumMod val="75000"/>
                  </a:schemeClr>
                </a:solidFill>
              </a:rPr>
              <a:t>test</a:t>
            </a:r>
            <a:r>
              <a:rPr lang="en-US" sz="1400"/>
              <a:t> set)</a:t>
            </a:r>
          </a:p>
        </p:txBody>
      </p:sp>
      <p:sp>
        <p:nvSpPr>
          <p:cNvPr id="5" name="TextBox 4">
            <a:extLst>
              <a:ext uri="{FF2B5EF4-FFF2-40B4-BE49-F238E27FC236}">
                <a16:creationId xmlns:a16="http://schemas.microsoft.com/office/drawing/2014/main" id="{3AC0F889-BED4-C74B-8469-EEF1A8DA53E0}"/>
              </a:ext>
            </a:extLst>
          </p:cNvPr>
          <p:cNvSpPr txBox="1"/>
          <p:nvPr/>
        </p:nvSpPr>
        <p:spPr>
          <a:xfrm>
            <a:off x="1000260" y="2601343"/>
            <a:ext cx="415265" cy="276999"/>
          </a:xfrm>
          <a:prstGeom prst="rect">
            <a:avLst/>
          </a:prstGeom>
          <a:solidFill>
            <a:schemeClr val="bg1"/>
          </a:solidFill>
        </p:spPr>
        <p:txBody>
          <a:bodyPr wrap="square" rtlCol="0">
            <a:spAutoFit/>
          </a:bodyPr>
          <a:lstStyle/>
          <a:p>
            <a:pPr algn="r"/>
            <a:r>
              <a:rPr lang="en-US" sz="1200" dirty="0"/>
              <a:t>R</a:t>
            </a:r>
            <a:r>
              <a:rPr lang="en-US" sz="1200" baseline="30000" dirty="0"/>
              <a:t>2</a:t>
            </a:r>
            <a:r>
              <a:rPr lang="en-US" sz="1200" dirty="0"/>
              <a:t>:</a:t>
            </a:r>
          </a:p>
        </p:txBody>
      </p:sp>
      <p:sp>
        <p:nvSpPr>
          <p:cNvPr id="7" name="TextBox 6">
            <a:extLst>
              <a:ext uri="{FF2B5EF4-FFF2-40B4-BE49-F238E27FC236}">
                <a16:creationId xmlns:a16="http://schemas.microsoft.com/office/drawing/2014/main" id="{E7D98BCB-75F7-D5E6-DBFC-7E8617B6E4CF}"/>
              </a:ext>
            </a:extLst>
          </p:cNvPr>
          <p:cNvSpPr txBox="1"/>
          <p:nvPr/>
        </p:nvSpPr>
        <p:spPr>
          <a:xfrm>
            <a:off x="4870049" y="2629918"/>
            <a:ext cx="415265" cy="276999"/>
          </a:xfrm>
          <a:prstGeom prst="rect">
            <a:avLst/>
          </a:prstGeom>
          <a:solidFill>
            <a:schemeClr val="bg1"/>
          </a:solidFill>
        </p:spPr>
        <p:txBody>
          <a:bodyPr wrap="square" rtlCol="0">
            <a:spAutoFit/>
          </a:bodyPr>
          <a:lstStyle/>
          <a:p>
            <a:pPr algn="r"/>
            <a:r>
              <a:rPr lang="en-US" sz="1200" dirty="0"/>
              <a:t>R</a:t>
            </a:r>
            <a:r>
              <a:rPr lang="en-US" sz="1200" baseline="30000" dirty="0"/>
              <a:t>2</a:t>
            </a:r>
            <a:r>
              <a:rPr lang="en-US" sz="1200" dirty="0"/>
              <a:t>:</a:t>
            </a:r>
          </a:p>
        </p:txBody>
      </p:sp>
      <p:sp>
        <p:nvSpPr>
          <p:cNvPr id="8" name="TextBox 7">
            <a:extLst>
              <a:ext uri="{FF2B5EF4-FFF2-40B4-BE49-F238E27FC236}">
                <a16:creationId xmlns:a16="http://schemas.microsoft.com/office/drawing/2014/main" id="{7DF1818C-1117-E333-723F-871FC2937F8E}"/>
              </a:ext>
            </a:extLst>
          </p:cNvPr>
          <p:cNvSpPr txBox="1"/>
          <p:nvPr/>
        </p:nvSpPr>
        <p:spPr>
          <a:xfrm>
            <a:off x="8678551" y="2601343"/>
            <a:ext cx="415265" cy="276999"/>
          </a:xfrm>
          <a:prstGeom prst="rect">
            <a:avLst/>
          </a:prstGeom>
          <a:solidFill>
            <a:schemeClr val="bg1"/>
          </a:solidFill>
        </p:spPr>
        <p:txBody>
          <a:bodyPr wrap="square" rtlCol="0">
            <a:spAutoFit/>
          </a:bodyPr>
          <a:lstStyle/>
          <a:p>
            <a:pPr algn="r"/>
            <a:r>
              <a:rPr lang="en-US" sz="1200" dirty="0"/>
              <a:t>R</a:t>
            </a:r>
            <a:r>
              <a:rPr lang="en-US" sz="1200" baseline="30000" dirty="0"/>
              <a:t>2</a:t>
            </a:r>
            <a:r>
              <a:rPr lang="en-US" sz="1200" dirty="0"/>
              <a:t>:</a:t>
            </a:r>
          </a:p>
        </p:txBody>
      </p:sp>
    </p:spTree>
    <p:extLst>
      <p:ext uri="{BB962C8B-B14F-4D97-AF65-F5344CB8AC3E}">
        <p14:creationId xmlns:p14="http://schemas.microsoft.com/office/powerpoint/2010/main" val="41532671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1000"/>
                                        <p:tgtEl>
                                          <p:spTgt spid="15"/>
                                        </p:tgtEl>
                                      </p:cBhvr>
                                    </p:animEffect>
                                    <p:anim calcmode="lin" valueType="num">
                                      <p:cBhvr>
                                        <p:cTn id="13" dur="1000" fill="hold"/>
                                        <p:tgtEl>
                                          <p:spTgt spid="15"/>
                                        </p:tgtEl>
                                        <p:attrNameLst>
                                          <p:attrName>ppt_x</p:attrName>
                                        </p:attrNameLst>
                                      </p:cBhvr>
                                      <p:tavLst>
                                        <p:tav tm="0">
                                          <p:val>
                                            <p:strVal val="#ppt_x"/>
                                          </p:val>
                                        </p:tav>
                                        <p:tav tm="100000">
                                          <p:val>
                                            <p:strVal val="#ppt_x"/>
                                          </p:val>
                                        </p:tav>
                                      </p:tavLst>
                                    </p:anim>
                                    <p:anim calcmode="lin" valueType="num">
                                      <p:cBhvr>
                                        <p:cTn id="14" dur="1000" fill="hold"/>
                                        <p:tgtEl>
                                          <p:spTgt spid="15"/>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1000"/>
                                        <p:tgtEl>
                                          <p:spTgt spid="5"/>
                                        </p:tgtEl>
                                      </p:cBhvr>
                                    </p:animEffect>
                                    <p:anim calcmode="lin" valueType="num">
                                      <p:cBhvr>
                                        <p:cTn id="18" dur="1000" fill="hold"/>
                                        <p:tgtEl>
                                          <p:spTgt spid="5"/>
                                        </p:tgtEl>
                                        <p:attrNameLst>
                                          <p:attrName>ppt_x</p:attrName>
                                        </p:attrNameLst>
                                      </p:cBhvr>
                                      <p:tavLst>
                                        <p:tav tm="0">
                                          <p:val>
                                            <p:strVal val="#ppt_x"/>
                                          </p:val>
                                        </p:tav>
                                        <p:tav tm="100000">
                                          <p:val>
                                            <p:strVal val="#ppt_x"/>
                                          </p:val>
                                        </p:tav>
                                      </p:tavLst>
                                    </p:anim>
                                    <p:anim calcmode="lin" valueType="num">
                                      <p:cBhvr>
                                        <p:cTn id="1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grpId="0" nodeType="click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1000"/>
                                        <p:tgtEl>
                                          <p:spTgt spid="16"/>
                                        </p:tgtEl>
                                      </p:cBhvr>
                                    </p:animEffect>
                                    <p:anim calcmode="lin" valueType="num">
                                      <p:cBhvr>
                                        <p:cTn id="25" dur="1000" fill="hold"/>
                                        <p:tgtEl>
                                          <p:spTgt spid="16"/>
                                        </p:tgtEl>
                                        <p:attrNameLst>
                                          <p:attrName>ppt_x</p:attrName>
                                        </p:attrNameLst>
                                      </p:cBhvr>
                                      <p:tavLst>
                                        <p:tav tm="0">
                                          <p:val>
                                            <p:strVal val="#ppt_x"/>
                                          </p:val>
                                        </p:tav>
                                        <p:tav tm="100000">
                                          <p:val>
                                            <p:strVal val="#ppt_x"/>
                                          </p:val>
                                        </p:tav>
                                      </p:tavLst>
                                    </p:anim>
                                    <p:anim calcmode="lin" valueType="num">
                                      <p:cBhvr>
                                        <p:cTn id="26" dur="1000" fill="hold"/>
                                        <p:tgtEl>
                                          <p:spTgt spid="16"/>
                                        </p:tgtEl>
                                        <p:attrNameLst>
                                          <p:attrName>ppt_y</p:attrName>
                                        </p:attrNameLst>
                                      </p:cBhvr>
                                      <p:tavLst>
                                        <p:tav tm="0">
                                          <p:val>
                                            <p:strVal val="#ppt_y+.1"/>
                                          </p:val>
                                        </p:tav>
                                        <p:tav tm="100000">
                                          <p:val>
                                            <p:strVal val="#ppt_y"/>
                                          </p:val>
                                        </p:tav>
                                      </p:tavLst>
                                    </p:anim>
                                  </p:childTnLst>
                                </p:cTn>
                              </p:par>
                              <p:par>
                                <p:cTn id="27" presetID="42" presetClass="entr" presetSubtype="0" fill="hold" nodeType="withEffect">
                                  <p:stCondLst>
                                    <p:cond delay="0"/>
                                  </p:stCondLst>
                                  <p:childTnLst>
                                    <p:set>
                                      <p:cBhvr>
                                        <p:cTn id="28" dur="1" fill="hold">
                                          <p:stCondLst>
                                            <p:cond delay="0"/>
                                          </p:stCondLst>
                                        </p:cTn>
                                        <p:tgtEl>
                                          <p:spTgt spid="4"/>
                                        </p:tgtEl>
                                        <p:attrNameLst>
                                          <p:attrName>style.visibility</p:attrName>
                                        </p:attrNameLst>
                                      </p:cBhvr>
                                      <p:to>
                                        <p:strVal val="visible"/>
                                      </p:to>
                                    </p:set>
                                    <p:animEffect transition="in" filter="fade">
                                      <p:cBhvr>
                                        <p:cTn id="29" dur="1000"/>
                                        <p:tgtEl>
                                          <p:spTgt spid="4"/>
                                        </p:tgtEl>
                                      </p:cBhvr>
                                    </p:animEffect>
                                    <p:anim calcmode="lin" valueType="num">
                                      <p:cBhvr>
                                        <p:cTn id="30" dur="1000" fill="hold"/>
                                        <p:tgtEl>
                                          <p:spTgt spid="4"/>
                                        </p:tgtEl>
                                        <p:attrNameLst>
                                          <p:attrName>ppt_x</p:attrName>
                                        </p:attrNameLst>
                                      </p:cBhvr>
                                      <p:tavLst>
                                        <p:tav tm="0">
                                          <p:val>
                                            <p:strVal val="#ppt_x"/>
                                          </p:val>
                                        </p:tav>
                                        <p:tav tm="100000">
                                          <p:val>
                                            <p:strVal val="#ppt_x"/>
                                          </p:val>
                                        </p:tav>
                                      </p:tavLst>
                                    </p:anim>
                                    <p:anim calcmode="lin" valueType="num">
                                      <p:cBhvr>
                                        <p:cTn id="31" dur="1000" fill="hold"/>
                                        <p:tgtEl>
                                          <p:spTgt spid="4"/>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7"/>
                                        </p:tgtEl>
                                        <p:attrNameLst>
                                          <p:attrName>style.visibility</p:attrName>
                                        </p:attrNameLst>
                                      </p:cBhvr>
                                      <p:to>
                                        <p:strVal val="visible"/>
                                      </p:to>
                                    </p:set>
                                    <p:animEffect transition="in" filter="fade">
                                      <p:cBhvr>
                                        <p:cTn id="34" dur="1000"/>
                                        <p:tgtEl>
                                          <p:spTgt spid="7"/>
                                        </p:tgtEl>
                                      </p:cBhvr>
                                    </p:animEffect>
                                    <p:anim calcmode="lin" valueType="num">
                                      <p:cBhvr>
                                        <p:cTn id="35" dur="1000" fill="hold"/>
                                        <p:tgtEl>
                                          <p:spTgt spid="7"/>
                                        </p:tgtEl>
                                        <p:attrNameLst>
                                          <p:attrName>ppt_x</p:attrName>
                                        </p:attrNameLst>
                                      </p:cBhvr>
                                      <p:tavLst>
                                        <p:tav tm="0">
                                          <p:val>
                                            <p:strVal val="#ppt_x"/>
                                          </p:val>
                                        </p:tav>
                                        <p:tav tm="100000">
                                          <p:val>
                                            <p:strVal val="#ppt_x"/>
                                          </p:val>
                                        </p:tav>
                                      </p:tavLst>
                                    </p:anim>
                                    <p:anim calcmode="lin" valueType="num">
                                      <p:cBhvr>
                                        <p:cTn id="36"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42" presetClass="entr" presetSubtype="0" fill="hold" nodeType="clickEffect">
                                  <p:stCondLst>
                                    <p:cond delay="0"/>
                                  </p:stCondLst>
                                  <p:childTnLst>
                                    <p:set>
                                      <p:cBhvr>
                                        <p:cTn id="40" dur="1" fill="hold">
                                          <p:stCondLst>
                                            <p:cond delay="0"/>
                                          </p:stCondLst>
                                        </p:cTn>
                                        <p:tgtEl>
                                          <p:spTgt spid="3"/>
                                        </p:tgtEl>
                                        <p:attrNameLst>
                                          <p:attrName>style.visibility</p:attrName>
                                        </p:attrNameLst>
                                      </p:cBhvr>
                                      <p:to>
                                        <p:strVal val="visible"/>
                                      </p:to>
                                    </p:set>
                                    <p:animEffect transition="in" filter="fade">
                                      <p:cBhvr>
                                        <p:cTn id="41" dur="1000"/>
                                        <p:tgtEl>
                                          <p:spTgt spid="3"/>
                                        </p:tgtEl>
                                      </p:cBhvr>
                                    </p:animEffect>
                                    <p:anim calcmode="lin" valueType="num">
                                      <p:cBhvr>
                                        <p:cTn id="42" dur="1000" fill="hold"/>
                                        <p:tgtEl>
                                          <p:spTgt spid="3"/>
                                        </p:tgtEl>
                                        <p:attrNameLst>
                                          <p:attrName>ppt_x</p:attrName>
                                        </p:attrNameLst>
                                      </p:cBhvr>
                                      <p:tavLst>
                                        <p:tav tm="0">
                                          <p:val>
                                            <p:strVal val="#ppt_x"/>
                                          </p:val>
                                        </p:tav>
                                        <p:tav tm="100000">
                                          <p:val>
                                            <p:strVal val="#ppt_x"/>
                                          </p:val>
                                        </p:tav>
                                      </p:tavLst>
                                    </p:anim>
                                    <p:anim calcmode="lin" valueType="num">
                                      <p:cBhvr>
                                        <p:cTn id="43" dur="1000" fill="hold"/>
                                        <p:tgtEl>
                                          <p:spTgt spid="3"/>
                                        </p:tgtEl>
                                        <p:attrNameLst>
                                          <p:attrName>ppt_y</p:attrName>
                                        </p:attrNameLst>
                                      </p:cBhvr>
                                      <p:tavLst>
                                        <p:tav tm="0">
                                          <p:val>
                                            <p:strVal val="#ppt_y+.1"/>
                                          </p:val>
                                        </p:tav>
                                        <p:tav tm="100000">
                                          <p:val>
                                            <p:strVal val="#ppt_y"/>
                                          </p:val>
                                        </p:tav>
                                      </p:tavLst>
                                    </p:anim>
                                  </p:childTnLst>
                                </p:cTn>
                              </p:par>
                              <p:par>
                                <p:cTn id="44" presetID="42" presetClass="entr" presetSubtype="0" fill="hold" grpId="0" nodeType="with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fade">
                                      <p:cBhvr>
                                        <p:cTn id="46" dur="1000"/>
                                        <p:tgtEl>
                                          <p:spTgt spid="17"/>
                                        </p:tgtEl>
                                      </p:cBhvr>
                                    </p:animEffect>
                                    <p:anim calcmode="lin" valueType="num">
                                      <p:cBhvr>
                                        <p:cTn id="47" dur="1000" fill="hold"/>
                                        <p:tgtEl>
                                          <p:spTgt spid="17"/>
                                        </p:tgtEl>
                                        <p:attrNameLst>
                                          <p:attrName>ppt_x</p:attrName>
                                        </p:attrNameLst>
                                      </p:cBhvr>
                                      <p:tavLst>
                                        <p:tav tm="0">
                                          <p:val>
                                            <p:strVal val="#ppt_x"/>
                                          </p:val>
                                        </p:tav>
                                        <p:tav tm="100000">
                                          <p:val>
                                            <p:strVal val="#ppt_x"/>
                                          </p:val>
                                        </p:tav>
                                      </p:tavLst>
                                    </p:anim>
                                    <p:anim calcmode="lin" valueType="num">
                                      <p:cBhvr>
                                        <p:cTn id="48" dur="1000" fill="hold"/>
                                        <p:tgtEl>
                                          <p:spTgt spid="17"/>
                                        </p:tgtEl>
                                        <p:attrNameLst>
                                          <p:attrName>ppt_y</p:attrName>
                                        </p:attrNameLst>
                                      </p:cBhvr>
                                      <p:tavLst>
                                        <p:tav tm="0">
                                          <p:val>
                                            <p:strVal val="#ppt_y+.1"/>
                                          </p:val>
                                        </p:tav>
                                        <p:tav tm="100000">
                                          <p:val>
                                            <p:strVal val="#ppt_y"/>
                                          </p:val>
                                        </p:tav>
                                      </p:tavLst>
                                    </p:anim>
                                  </p:childTnLst>
                                </p:cTn>
                              </p:par>
                              <p:par>
                                <p:cTn id="49" presetID="42" presetClass="entr" presetSubtype="0" fill="hold" grpId="0" nodeType="withEffect">
                                  <p:stCondLst>
                                    <p:cond delay="0"/>
                                  </p:stCondLst>
                                  <p:childTnLst>
                                    <p:set>
                                      <p:cBhvr>
                                        <p:cTn id="50" dur="1" fill="hold">
                                          <p:stCondLst>
                                            <p:cond delay="0"/>
                                          </p:stCondLst>
                                        </p:cTn>
                                        <p:tgtEl>
                                          <p:spTgt spid="8"/>
                                        </p:tgtEl>
                                        <p:attrNameLst>
                                          <p:attrName>style.visibility</p:attrName>
                                        </p:attrNameLst>
                                      </p:cBhvr>
                                      <p:to>
                                        <p:strVal val="visible"/>
                                      </p:to>
                                    </p:set>
                                    <p:animEffect transition="in" filter="fade">
                                      <p:cBhvr>
                                        <p:cTn id="51" dur="1000"/>
                                        <p:tgtEl>
                                          <p:spTgt spid="8"/>
                                        </p:tgtEl>
                                      </p:cBhvr>
                                    </p:animEffect>
                                    <p:anim calcmode="lin" valueType="num">
                                      <p:cBhvr>
                                        <p:cTn id="52" dur="1000" fill="hold"/>
                                        <p:tgtEl>
                                          <p:spTgt spid="8"/>
                                        </p:tgtEl>
                                        <p:attrNameLst>
                                          <p:attrName>ppt_x</p:attrName>
                                        </p:attrNameLst>
                                      </p:cBhvr>
                                      <p:tavLst>
                                        <p:tav tm="0">
                                          <p:val>
                                            <p:strVal val="#ppt_x"/>
                                          </p:val>
                                        </p:tav>
                                        <p:tav tm="100000">
                                          <p:val>
                                            <p:strVal val="#ppt_x"/>
                                          </p:val>
                                        </p:tav>
                                      </p:tavLst>
                                    </p:anim>
                                    <p:anim calcmode="lin" valueType="num">
                                      <p:cBhvr>
                                        <p:cTn id="53"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17" grpId="0"/>
      <p:bldP spid="5" grpId="0" animBg="1"/>
      <p:bldP spid="7" grpId="0" animBg="1"/>
      <p:bldP spid="8"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1104436" y="260601"/>
            <a:ext cx="9983125" cy="110257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200" i="1" u="sng">
                <a:solidFill>
                  <a:schemeClr val="accent1">
                    <a:lumMod val="50000"/>
                  </a:schemeClr>
                </a:solidFill>
                <a:latin typeface="Calibri Light" panose="020F0302020204030204" pitchFamily="34" charset="0"/>
              </a:rPr>
              <a:t>Mapping Source and Modeled Data : </a:t>
            </a:r>
            <a:r>
              <a:rPr lang="en-US" sz="3200" b="1" i="1" u="sng">
                <a:solidFill>
                  <a:schemeClr val="accent1">
                    <a:lumMod val="50000"/>
                  </a:schemeClr>
                </a:solidFill>
                <a:latin typeface="Calibri Light" panose="020F0302020204030204" pitchFamily="34" charset="0"/>
              </a:rPr>
              <a:t>Total Precipitation</a:t>
            </a:r>
            <a:r>
              <a:rPr lang="en-US" sz="3200" i="1" u="sng">
                <a:solidFill>
                  <a:schemeClr val="accent1">
                    <a:lumMod val="50000"/>
                  </a:schemeClr>
                </a:solidFill>
                <a:latin typeface="Calibri Light" panose="020F0302020204030204" pitchFamily="34" charset="0"/>
              </a:rPr>
              <a:t> </a:t>
            </a:r>
            <a:endParaRPr lang="en-US" sz="3200" b="1" i="1" u="sng">
              <a:solidFill>
                <a:schemeClr val="accent1">
                  <a:lumMod val="50000"/>
                </a:schemeClr>
              </a:solidFill>
            </a:endParaRPr>
          </a:p>
        </p:txBody>
      </p:sp>
      <p:pic>
        <p:nvPicPr>
          <p:cNvPr id="3" name="Picture 2">
            <a:extLst>
              <a:ext uri="{FF2B5EF4-FFF2-40B4-BE49-F238E27FC236}">
                <a16:creationId xmlns:a16="http://schemas.microsoft.com/office/drawing/2014/main" id="{16BBEA49-B7C7-2619-44DA-70CDEE7990C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990106" y="2346009"/>
            <a:ext cx="8211787" cy="3567416"/>
          </a:xfrm>
          <a:prstGeom prst="rect">
            <a:avLst/>
          </a:prstGeom>
        </p:spPr>
      </p:pic>
      <p:sp>
        <p:nvSpPr>
          <p:cNvPr id="2" name="Slide Number Placeholder 1">
            <a:extLst>
              <a:ext uri="{FF2B5EF4-FFF2-40B4-BE49-F238E27FC236}">
                <a16:creationId xmlns:a16="http://schemas.microsoft.com/office/drawing/2014/main" id="{99AE1A04-85B3-C2B8-36C1-23AD8083AA4B}"/>
              </a:ext>
            </a:extLst>
          </p:cNvPr>
          <p:cNvSpPr>
            <a:spLocks noGrp="1"/>
          </p:cNvSpPr>
          <p:nvPr>
            <p:ph type="sldNum" sz="quarter" idx="12"/>
          </p:nvPr>
        </p:nvSpPr>
        <p:spPr/>
        <p:txBody>
          <a:bodyPr/>
          <a:lstStyle/>
          <a:p>
            <a:fld id="{EEAD9179-7A6B-4268-BEB2-F3B8EB06115B}" type="slidenum">
              <a:rPr lang="en-US" noProof="0" smtClean="0"/>
              <a:t>27</a:t>
            </a:fld>
            <a:endParaRPr lang="en-US" noProof="0"/>
          </a:p>
        </p:txBody>
      </p:sp>
      <p:sp>
        <p:nvSpPr>
          <p:cNvPr id="4" name="TextBox 3">
            <a:extLst>
              <a:ext uri="{FF2B5EF4-FFF2-40B4-BE49-F238E27FC236}">
                <a16:creationId xmlns:a16="http://schemas.microsoft.com/office/drawing/2014/main" id="{7F5F4019-3D4B-8395-A8BB-840FAF1EA8B1}"/>
              </a:ext>
            </a:extLst>
          </p:cNvPr>
          <p:cNvSpPr txBox="1"/>
          <p:nvPr/>
        </p:nvSpPr>
        <p:spPr>
          <a:xfrm>
            <a:off x="1001095" y="1363178"/>
            <a:ext cx="10562672" cy="646331"/>
          </a:xfrm>
          <a:prstGeom prst="rect">
            <a:avLst/>
          </a:prstGeom>
          <a:noFill/>
        </p:spPr>
        <p:txBody>
          <a:bodyPr wrap="square" rtlCol="0">
            <a:spAutoFit/>
          </a:bodyPr>
          <a:lstStyle/>
          <a:p>
            <a:r>
              <a:rPr lang="en-US"/>
              <a:t>Model interpolated high-resolution </a:t>
            </a:r>
            <a:r>
              <a:rPr lang="en-US" u="sng"/>
              <a:t>Total Precipitation</a:t>
            </a:r>
            <a:r>
              <a:rPr lang="en-US" b="1"/>
              <a:t> </a:t>
            </a:r>
            <a:r>
              <a:rPr lang="en-US"/>
              <a:t>data </a:t>
            </a:r>
            <a:r>
              <a:rPr lang="en-US">
                <a:solidFill>
                  <a:srgbClr val="FF0000"/>
                </a:solidFill>
              </a:rPr>
              <a:t>doesn’t have </a:t>
            </a:r>
            <a:r>
              <a:rPr lang="en-US"/>
              <a:t>good spatial agreement with observed (TWC) high-resolution data.  </a:t>
            </a:r>
          </a:p>
        </p:txBody>
      </p:sp>
    </p:spTree>
    <p:extLst>
      <p:ext uri="{BB962C8B-B14F-4D97-AF65-F5344CB8AC3E}">
        <p14:creationId xmlns:p14="http://schemas.microsoft.com/office/powerpoint/2010/main" val="39322406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865388" y="308973"/>
            <a:ext cx="9771851" cy="86591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i="1" u="sng">
                <a:solidFill>
                  <a:schemeClr val="accent1">
                    <a:lumMod val="50000"/>
                  </a:schemeClr>
                </a:solidFill>
                <a:latin typeface="Calibri Light" panose="020F0302020204030204" pitchFamily="34" charset="0"/>
              </a:rPr>
              <a:t>DL Model Results : </a:t>
            </a:r>
            <a:r>
              <a:rPr lang="en-US" sz="4000" b="1" i="1" u="sng">
                <a:solidFill>
                  <a:schemeClr val="accent1">
                    <a:lumMod val="50000"/>
                  </a:schemeClr>
                </a:solidFill>
                <a:latin typeface="Calibri Light" panose="020F0302020204030204" pitchFamily="34" charset="0"/>
              </a:rPr>
              <a:t>Total Precipitation</a:t>
            </a:r>
            <a:endParaRPr lang="en-US" sz="4000" b="1" i="1" u="sng">
              <a:solidFill>
                <a:schemeClr val="accent1">
                  <a:lumMod val="50000"/>
                </a:schemeClr>
              </a:solidFill>
            </a:endParaRPr>
          </a:p>
        </p:txBody>
      </p:sp>
      <p:sp>
        <p:nvSpPr>
          <p:cNvPr id="2" name="TextBox 1">
            <a:extLst>
              <a:ext uri="{FF2B5EF4-FFF2-40B4-BE49-F238E27FC236}">
                <a16:creationId xmlns:a16="http://schemas.microsoft.com/office/drawing/2014/main" id="{B0865CE3-FB3D-D767-F7F8-E149E6F708BA}"/>
              </a:ext>
            </a:extLst>
          </p:cNvPr>
          <p:cNvSpPr txBox="1"/>
          <p:nvPr/>
        </p:nvSpPr>
        <p:spPr>
          <a:xfrm>
            <a:off x="865388" y="1391651"/>
            <a:ext cx="6031888" cy="2957861"/>
          </a:xfrm>
          <a:prstGeom prst="rect">
            <a:avLst/>
          </a:prstGeom>
          <a:noFill/>
        </p:spPr>
        <p:txBody>
          <a:bodyPr wrap="square" rtlCol="0">
            <a:spAutoFit/>
          </a:bodyPr>
          <a:lstStyle/>
          <a:p>
            <a:pPr>
              <a:lnSpc>
                <a:spcPct val="150000"/>
              </a:lnSpc>
            </a:pPr>
            <a:r>
              <a:rPr lang="en-US" b="1"/>
              <a:t>Measures tried to improve </a:t>
            </a:r>
            <a:r>
              <a:rPr lang="en-US" b="1">
                <a:solidFill>
                  <a:srgbClr val="00B0F0"/>
                </a:solidFill>
              </a:rPr>
              <a:t>MLP</a:t>
            </a:r>
            <a:r>
              <a:rPr lang="en-US" b="1"/>
              <a:t> ‘Total Precipitation’ performance:</a:t>
            </a:r>
          </a:p>
          <a:p>
            <a:pPr marL="742950" lvl="1" indent="-285750">
              <a:lnSpc>
                <a:spcPct val="150000"/>
              </a:lnSpc>
              <a:buFont typeface="Courier New" panose="02070309020205020404" pitchFamily="49" charset="0"/>
              <a:buChar char="o"/>
            </a:pPr>
            <a:r>
              <a:rPr lang="en-US"/>
              <a:t>different ratio of train-test-validation split</a:t>
            </a:r>
          </a:p>
          <a:p>
            <a:pPr marL="742950" lvl="1" indent="-285750">
              <a:lnSpc>
                <a:spcPct val="150000"/>
              </a:lnSpc>
              <a:buFont typeface="Courier New" panose="02070309020205020404" pitchFamily="49" charset="0"/>
              <a:buChar char="o"/>
            </a:pPr>
            <a:r>
              <a:rPr lang="en-US"/>
              <a:t>simple and complex model architectures</a:t>
            </a:r>
          </a:p>
          <a:p>
            <a:pPr marL="742950" lvl="1" indent="-285750">
              <a:lnSpc>
                <a:spcPct val="150000"/>
              </a:lnSpc>
              <a:buFont typeface="Courier New" panose="02070309020205020404" pitchFamily="49" charset="0"/>
              <a:buChar char="o"/>
            </a:pPr>
            <a:r>
              <a:rPr lang="en-US"/>
              <a:t>adjusting hyperparameter values</a:t>
            </a:r>
          </a:p>
          <a:p>
            <a:pPr marL="742950" lvl="1" indent="-285750">
              <a:lnSpc>
                <a:spcPct val="150000"/>
              </a:lnSpc>
              <a:buFont typeface="Courier New" panose="02070309020205020404" pitchFamily="49" charset="0"/>
              <a:buChar char="o"/>
            </a:pPr>
            <a:r>
              <a:rPr lang="en-US"/>
              <a:t>different optimizers</a:t>
            </a:r>
          </a:p>
          <a:p>
            <a:pPr marL="742950" lvl="1" indent="-285750">
              <a:lnSpc>
                <a:spcPct val="150000"/>
              </a:lnSpc>
              <a:buFont typeface="Courier New" panose="02070309020205020404" pitchFamily="49" charset="0"/>
              <a:buChar char="o"/>
            </a:pPr>
            <a:r>
              <a:rPr lang="en-US"/>
              <a:t>early stopping, dropout, adding/removing features</a:t>
            </a:r>
          </a:p>
        </p:txBody>
      </p:sp>
      <p:pic>
        <p:nvPicPr>
          <p:cNvPr id="5" name="Picture 4">
            <a:extLst>
              <a:ext uri="{FF2B5EF4-FFF2-40B4-BE49-F238E27FC236}">
                <a16:creationId xmlns:a16="http://schemas.microsoft.com/office/drawing/2014/main" id="{FDC010C9-2B4A-259D-24E8-5E49354DD99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897276" y="1391651"/>
            <a:ext cx="4360749" cy="3342571"/>
          </a:xfrm>
          <a:prstGeom prst="rect">
            <a:avLst/>
          </a:prstGeom>
        </p:spPr>
      </p:pic>
      <p:sp>
        <p:nvSpPr>
          <p:cNvPr id="3" name="Slide Number Placeholder 2">
            <a:extLst>
              <a:ext uri="{FF2B5EF4-FFF2-40B4-BE49-F238E27FC236}">
                <a16:creationId xmlns:a16="http://schemas.microsoft.com/office/drawing/2014/main" id="{8F971888-5CED-2514-FB79-CEC0AE9C973D}"/>
              </a:ext>
            </a:extLst>
          </p:cNvPr>
          <p:cNvSpPr>
            <a:spLocks noGrp="1"/>
          </p:cNvSpPr>
          <p:nvPr>
            <p:ph type="sldNum" sz="quarter" idx="12"/>
          </p:nvPr>
        </p:nvSpPr>
        <p:spPr/>
        <p:txBody>
          <a:bodyPr/>
          <a:lstStyle/>
          <a:p>
            <a:fld id="{EEAD9179-7A6B-4268-BEB2-F3B8EB06115B}" type="slidenum">
              <a:rPr lang="en-US" noProof="0" smtClean="0"/>
              <a:t>28</a:t>
            </a:fld>
            <a:endParaRPr lang="en-US" noProof="0"/>
          </a:p>
        </p:txBody>
      </p:sp>
      <p:sp>
        <p:nvSpPr>
          <p:cNvPr id="4" name="TextBox 3">
            <a:extLst>
              <a:ext uri="{FF2B5EF4-FFF2-40B4-BE49-F238E27FC236}">
                <a16:creationId xmlns:a16="http://schemas.microsoft.com/office/drawing/2014/main" id="{83BCD419-89C7-9F7E-2906-52E2ED81E12F}"/>
              </a:ext>
            </a:extLst>
          </p:cNvPr>
          <p:cNvSpPr txBox="1"/>
          <p:nvPr/>
        </p:nvSpPr>
        <p:spPr>
          <a:xfrm>
            <a:off x="865388" y="4397203"/>
            <a:ext cx="10583662" cy="2270109"/>
          </a:xfrm>
          <a:prstGeom prst="rect">
            <a:avLst/>
          </a:prstGeom>
          <a:noFill/>
        </p:spPr>
        <p:txBody>
          <a:bodyPr wrap="square" rtlCol="0">
            <a:spAutoFit/>
          </a:bodyPr>
          <a:lstStyle/>
          <a:p>
            <a:pPr>
              <a:lnSpc>
                <a:spcPct val="150000"/>
              </a:lnSpc>
            </a:pPr>
            <a:r>
              <a:rPr lang="en-US" sz="1600" b="1" dirty="0"/>
              <a:t>Future works:</a:t>
            </a:r>
          </a:p>
          <a:p>
            <a:pPr marL="285750" indent="-285750">
              <a:lnSpc>
                <a:spcPct val="150000"/>
              </a:lnSpc>
              <a:buFont typeface="Courier New" panose="02070309020205020404" pitchFamily="49" charset="0"/>
              <a:buChar char="o"/>
            </a:pPr>
            <a:r>
              <a:rPr lang="en-US" sz="1600" dirty="0"/>
              <a:t>More architectures and different sets of hyperparameters</a:t>
            </a:r>
          </a:p>
          <a:p>
            <a:pPr marL="285750" indent="-285750">
              <a:lnSpc>
                <a:spcPct val="150000"/>
              </a:lnSpc>
              <a:buFont typeface="Courier New" panose="02070309020205020404" pitchFamily="49" charset="0"/>
              <a:buChar char="o"/>
            </a:pPr>
            <a:r>
              <a:rPr lang="en-US" sz="1600" dirty="0"/>
              <a:t>New data splitting strategy to remove skewness in data</a:t>
            </a:r>
          </a:p>
          <a:p>
            <a:pPr marL="285750" indent="-285750">
              <a:lnSpc>
                <a:spcPct val="150000"/>
              </a:lnSpc>
              <a:buFont typeface="Courier New" panose="02070309020205020404" pitchFamily="49" charset="0"/>
              <a:buChar char="o"/>
            </a:pPr>
            <a:r>
              <a:rPr lang="en-US" sz="1600" dirty="0"/>
              <a:t>Incorporating more samples in training/observed dataset </a:t>
            </a:r>
          </a:p>
          <a:p>
            <a:pPr marL="285750" indent="-285750">
              <a:lnSpc>
                <a:spcPct val="150000"/>
              </a:lnSpc>
              <a:buFont typeface="Courier New" panose="02070309020205020404" pitchFamily="49" charset="0"/>
              <a:buChar char="o"/>
            </a:pPr>
            <a:r>
              <a:rPr lang="en-US" sz="1600" dirty="0"/>
              <a:t>Incorporating high resolution datasets in input variables</a:t>
            </a:r>
          </a:p>
          <a:p>
            <a:pPr marL="285750" indent="-285750">
              <a:lnSpc>
                <a:spcPct val="150000"/>
              </a:lnSpc>
              <a:buFont typeface="Courier New" panose="02070309020205020404" pitchFamily="49" charset="0"/>
              <a:buChar char="o"/>
            </a:pPr>
            <a:r>
              <a:rPr lang="en-US" sz="1600" dirty="0"/>
              <a:t>Trying out complex DL algorithms : CNN, </a:t>
            </a:r>
            <a:r>
              <a:rPr lang="en-US" sz="1600" dirty="0" err="1"/>
              <a:t>UNet</a:t>
            </a:r>
            <a:r>
              <a:rPr lang="en-US" sz="1600" dirty="0"/>
              <a:t>, LSTM (</a:t>
            </a:r>
            <a:r>
              <a:rPr lang="en-US" sz="1600" u="sng" dirty="0">
                <a:solidFill>
                  <a:srgbClr val="0070C0"/>
                </a:solidFill>
              </a:rPr>
              <a:t>Gonzalez 2023, Wang et al. 2022, Sha et al. 2020, Anh et al. 2019</a:t>
            </a:r>
            <a:r>
              <a:rPr lang="en-US" sz="1600" dirty="0"/>
              <a:t>)</a:t>
            </a:r>
          </a:p>
        </p:txBody>
      </p:sp>
    </p:spTree>
    <p:extLst>
      <p:ext uri="{BB962C8B-B14F-4D97-AF65-F5344CB8AC3E}">
        <p14:creationId xmlns:p14="http://schemas.microsoft.com/office/powerpoint/2010/main" val="3718447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1073729" y="2489153"/>
            <a:ext cx="10044541" cy="939847"/>
          </a:xfrm>
          <a:prstGeom prst="rect">
            <a:avLst/>
          </a:prstGeom>
        </p:spPr>
        <p:txBody>
          <a:bodyPr vert="horz" lIns="91440" tIns="45720" rIns="91440" bIns="45720" rtlCol="0" anchor="b">
            <a:normAutofit fontScale="7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spcAft>
                <a:spcPts val="600"/>
              </a:spcAft>
            </a:pPr>
            <a:r>
              <a:rPr lang="en-US" sz="5400" b="1" i="1" dirty="0">
                <a:solidFill>
                  <a:srgbClr val="10384F"/>
                </a:solidFill>
              </a:rPr>
              <a:t>4.</a:t>
            </a:r>
            <a:r>
              <a:rPr lang="en-US" sz="5400" b="1" i="1" kern="1200" dirty="0">
                <a:solidFill>
                  <a:srgbClr val="10384F"/>
                </a:solidFill>
                <a:latin typeface="+mj-lt"/>
                <a:ea typeface="+mj-ea"/>
                <a:cs typeface="+mj-cs"/>
              </a:rPr>
              <a:t> Case Study: ARD in Environmental Clustering App</a:t>
            </a:r>
          </a:p>
        </p:txBody>
      </p:sp>
      <p:sp>
        <p:nvSpPr>
          <p:cNvPr id="2" name="Slide Number Placeholder 1">
            <a:extLst>
              <a:ext uri="{FF2B5EF4-FFF2-40B4-BE49-F238E27FC236}">
                <a16:creationId xmlns:a16="http://schemas.microsoft.com/office/drawing/2014/main" id="{0B89BDD2-F5DB-123F-BC6B-2CA2B8A70DAF}"/>
              </a:ext>
            </a:extLst>
          </p:cNvPr>
          <p:cNvSpPr>
            <a:spLocks noGrp="1"/>
          </p:cNvSpPr>
          <p:nvPr>
            <p:ph type="sldNum" sz="quarter" idx="12"/>
          </p:nvPr>
        </p:nvSpPr>
        <p:spPr/>
        <p:txBody>
          <a:bodyPr/>
          <a:lstStyle/>
          <a:p>
            <a:fld id="{EEAD9179-7A6B-4268-BEB2-F3B8EB06115B}" type="slidenum">
              <a:rPr lang="en-US" noProof="0" smtClean="0"/>
              <a:t>29</a:t>
            </a:fld>
            <a:endParaRPr lang="en-US" noProof="0"/>
          </a:p>
        </p:txBody>
      </p:sp>
      <p:cxnSp>
        <p:nvCxnSpPr>
          <p:cNvPr id="5" name="Straight Connector 4">
            <a:extLst>
              <a:ext uri="{FF2B5EF4-FFF2-40B4-BE49-F238E27FC236}">
                <a16:creationId xmlns:a16="http://schemas.microsoft.com/office/drawing/2014/main" id="{7626C8EE-8744-DAF9-3469-888CF3D8D275}"/>
              </a:ext>
            </a:extLst>
          </p:cNvPr>
          <p:cNvCxnSpPr/>
          <p:nvPr/>
        </p:nvCxnSpPr>
        <p:spPr>
          <a:xfrm>
            <a:off x="933061" y="6307494"/>
            <a:ext cx="10487608" cy="0"/>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42551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3F62010-37D9-C1F3-FE48-1F9FC4001FF9}"/>
              </a:ext>
            </a:extLst>
          </p:cNvPr>
          <p:cNvSpPr/>
          <p:nvPr/>
        </p:nvSpPr>
        <p:spPr>
          <a:xfrm>
            <a:off x="0" y="8125"/>
            <a:ext cx="3495674" cy="68498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736879" y="2512267"/>
            <a:ext cx="3042461" cy="10166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spcAft>
                <a:spcPts val="600"/>
              </a:spcAft>
            </a:pPr>
            <a:r>
              <a:rPr lang="en-US" sz="4800" i="1" u="sng" dirty="0">
                <a:solidFill>
                  <a:schemeClr val="accent1">
                    <a:lumMod val="50000"/>
                  </a:schemeClr>
                </a:solidFill>
                <a:latin typeface="Calibri Light" panose="020F0302020204030204" pitchFamily="34" charset="0"/>
              </a:rPr>
              <a:t>Agenda</a:t>
            </a:r>
          </a:p>
        </p:txBody>
      </p:sp>
      <p:sp>
        <p:nvSpPr>
          <p:cNvPr id="5" name="TextBox 4">
            <a:extLst>
              <a:ext uri="{FF2B5EF4-FFF2-40B4-BE49-F238E27FC236}">
                <a16:creationId xmlns:a16="http://schemas.microsoft.com/office/drawing/2014/main" id="{6B0E3D4A-AE11-4EEE-47A3-F08F39D0D674}"/>
              </a:ext>
            </a:extLst>
          </p:cNvPr>
          <p:cNvSpPr txBox="1"/>
          <p:nvPr/>
        </p:nvSpPr>
        <p:spPr>
          <a:xfrm>
            <a:off x="3694126" y="897186"/>
            <a:ext cx="8288323" cy="4551113"/>
          </a:xfrm>
          <a:prstGeom prst="rect">
            <a:avLst/>
          </a:prstGeom>
        </p:spPr>
        <p:txBody>
          <a:bodyPr vert="horz" lIns="91440" tIns="45720" rIns="91440" bIns="45720" rtlCol="0" anchor="ctr">
            <a:normAutofit fontScale="92500"/>
          </a:bodyPr>
          <a:lstStyle/>
          <a:p>
            <a:pPr marL="514350" indent="-457200">
              <a:lnSpc>
                <a:spcPct val="210000"/>
              </a:lnSpc>
              <a:spcAft>
                <a:spcPts val="600"/>
              </a:spcAft>
              <a:buFont typeface="+mj-lt"/>
              <a:buAutoNum type="arabicPeriod"/>
            </a:pPr>
            <a:r>
              <a:rPr lang="en-US" sz="2400" i="1" dirty="0"/>
              <a:t>Motivation and Business Impact </a:t>
            </a:r>
          </a:p>
          <a:p>
            <a:pPr marL="514350" indent="-457200">
              <a:lnSpc>
                <a:spcPct val="210000"/>
              </a:lnSpc>
              <a:spcAft>
                <a:spcPts val="600"/>
              </a:spcAft>
              <a:buFont typeface="+mj-lt"/>
              <a:buAutoNum type="arabicPeriod"/>
            </a:pPr>
            <a:r>
              <a:rPr lang="en-US" sz="2400" i="1" dirty="0"/>
              <a:t>Framework for Analysis-Ready Datasets (ARD)</a:t>
            </a:r>
          </a:p>
          <a:p>
            <a:pPr marL="514350" indent="-457200">
              <a:lnSpc>
                <a:spcPct val="210000"/>
              </a:lnSpc>
              <a:spcAft>
                <a:spcPts val="600"/>
              </a:spcAft>
              <a:buFont typeface="+mj-lt"/>
              <a:buAutoNum type="arabicPeriod"/>
            </a:pPr>
            <a:r>
              <a:rPr lang="en-US" sz="2400" i="1" dirty="0"/>
              <a:t>Machine Learning/Deep Learning Model Results and Discussion</a:t>
            </a:r>
          </a:p>
          <a:p>
            <a:pPr marL="514350" indent="-457200">
              <a:lnSpc>
                <a:spcPct val="210000"/>
              </a:lnSpc>
              <a:spcAft>
                <a:spcPts val="600"/>
              </a:spcAft>
              <a:buFont typeface="+mj-lt"/>
              <a:buAutoNum type="arabicPeriod"/>
            </a:pPr>
            <a:r>
              <a:rPr lang="en-US" sz="2400" i="1" dirty="0"/>
              <a:t>Case Study: ARD in Environmental Clustering App</a:t>
            </a:r>
          </a:p>
          <a:p>
            <a:pPr marL="514350" indent="-457200">
              <a:lnSpc>
                <a:spcPct val="210000"/>
              </a:lnSpc>
              <a:spcAft>
                <a:spcPts val="600"/>
              </a:spcAft>
              <a:buFont typeface="+mj-lt"/>
              <a:buAutoNum type="arabicPeriod"/>
            </a:pPr>
            <a:r>
              <a:rPr lang="en-US" sz="2400" i="1" dirty="0"/>
              <a:t>Summary</a:t>
            </a:r>
          </a:p>
        </p:txBody>
      </p:sp>
      <p:sp>
        <p:nvSpPr>
          <p:cNvPr id="2" name="Slide Number Placeholder 1">
            <a:extLst>
              <a:ext uri="{FF2B5EF4-FFF2-40B4-BE49-F238E27FC236}">
                <a16:creationId xmlns:a16="http://schemas.microsoft.com/office/drawing/2014/main" id="{50D7F7E2-05E6-E2B8-455A-1E18E17C21ED}"/>
              </a:ext>
            </a:extLst>
          </p:cNvPr>
          <p:cNvSpPr>
            <a:spLocks noGrp="1"/>
          </p:cNvSpPr>
          <p:nvPr>
            <p:ph type="sldNum" sz="quarter" idx="12"/>
          </p:nvPr>
        </p:nvSpPr>
        <p:spPr/>
        <p:txBody>
          <a:bodyPr/>
          <a:lstStyle/>
          <a:p>
            <a:fld id="{EEAD9179-7A6B-4268-BEB2-F3B8EB06115B}" type="slidenum">
              <a:rPr lang="en-US" noProof="0" smtClean="0"/>
              <a:t>3</a:t>
            </a:fld>
            <a:endParaRPr lang="en-US" noProof="0"/>
          </a:p>
        </p:txBody>
      </p:sp>
      <p:pic>
        <p:nvPicPr>
          <p:cNvPr id="4" name="Picture 3" descr="A picture containing circle, graphics, font, symbol&#10;&#10;Description automatically generated">
            <a:extLst>
              <a:ext uri="{FF2B5EF4-FFF2-40B4-BE49-F238E27FC236}">
                <a16:creationId xmlns:a16="http://schemas.microsoft.com/office/drawing/2014/main" id="{A6D044A4-BBE0-F9D4-D169-45AA3B58918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6044" y="360516"/>
            <a:ext cx="409975" cy="409975"/>
          </a:xfrm>
          <a:prstGeom prst="rect">
            <a:avLst/>
          </a:prstGeom>
        </p:spPr>
      </p:pic>
    </p:spTree>
    <p:extLst>
      <p:ext uri="{BB962C8B-B14F-4D97-AF65-F5344CB8AC3E}">
        <p14:creationId xmlns:p14="http://schemas.microsoft.com/office/powerpoint/2010/main" val="59269998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865388" y="308973"/>
            <a:ext cx="9771851" cy="86591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i="1" u="sng">
                <a:solidFill>
                  <a:schemeClr val="accent1">
                    <a:lumMod val="50000"/>
                  </a:schemeClr>
                </a:solidFill>
                <a:latin typeface="Calibri Light" panose="020F0302020204030204" pitchFamily="34" charset="0"/>
              </a:rPr>
              <a:t>Analysis-Ready Dataset (ARD) Compilation</a:t>
            </a:r>
            <a:endParaRPr lang="en-US" sz="4000" b="1" i="1" u="sng">
              <a:solidFill>
                <a:schemeClr val="accent1">
                  <a:lumMod val="50000"/>
                </a:schemeClr>
              </a:solidFill>
            </a:endParaRPr>
          </a:p>
        </p:txBody>
      </p:sp>
      <p:sp>
        <p:nvSpPr>
          <p:cNvPr id="2" name="TextBox 1">
            <a:extLst>
              <a:ext uri="{FF2B5EF4-FFF2-40B4-BE49-F238E27FC236}">
                <a16:creationId xmlns:a16="http://schemas.microsoft.com/office/drawing/2014/main" id="{5CA4440B-028E-4F88-3186-F24679B2C4C9}"/>
              </a:ext>
            </a:extLst>
          </p:cNvPr>
          <p:cNvSpPr txBox="1"/>
          <p:nvPr/>
        </p:nvSpPr>
        <p:spPr>
          <a:xfrm>
            <a:off x="1259337" y="4289884"/>
            <a:ext cx="3006794" cy="1015663"/>
          </a:xfrm>
          <a:prstGeom prst="rect">
            <a:avLst/>
          </a:prstGeom>
          <a:noFill/>
        </p:spPr>
        <p:txBody>
          <a:bodyPr wrap="square">
            <a:spAutoFit/>
          </a:bodyPr>
          <a:lstStyle/>
          <a:p>
            <a:r>
              <a:rPr lang="en-US" sz="2000">
                <a:solidFill>
                  <a:schemeClr val="accent6">
                    <a:lumMod val="75000"/>
                  </a:schemeClr>
                </a:solidFill>
              </a:rPr>
              <a:t>Max Relative Humidity</a:t>
            </a:r>
          </a:p>
          <a:p>
            <a:r>
              <a:rPr lang="en-US" sz="2000">
                <a:solidFill>
                  <a:schemeClr val="accent6">
                    <a:lumMod val="75000"/>
                  </a:schemeClr>
                </a:solidFill>
              </a:rPr>
              <a:t>Min Relative Humidity</a:t>
            </a:r>
          </a:p>
          <a:p>
            <a:r>
              <a:rPr lang="en-US" sz="2000">
                <a:solidFill>
                  <a:schemeClr val="accent6">
                    <a:lumMod val="75000"/>
                  </a:schemeClr>
                </a:solidFill>
              </a:rPr>
              <a:t>Total Net Solar Radiation</a:t>
            </a:r>
          </a:p>
        </p:txBody>
      </p:sp>
      <p:sp>
        <p:nvSpPr>
          <p:cNvPr id="4" name="TextBox 3">
            <a:extLst>
              <a:ext uri="{FF2B5EF4-FFF2-40B4-BE49-F238E27FC236}">
                <a16:creationId xmlns:a16="http://schemas.microsoft.com/office/drawing/2014/main" id="{9BBBEEA8-01ED-B542-9A63-9A69DC65E6BA}"/>
              </a:ext>
            </a:extLst>
          </p:cNvPr>
          <p:cNvSpPr txBox="1"/>
          <p:nvPr/>
        </p:nvSpPr>
        <p:spPr>
          <a:xfrm>
            <a:off x="1254814" y="1544218"/>
            <a:ext cx="3006794" cy="1938992"/>
          </a:xfrm>
          <a:prstGeom prst="rect">
            <a:avLst/>
          </a:prstGeom>
          <a:noFill/>
        </p:spPr>
        <p:txBody>
          <a:bodyPr wrap="square">
            <a:spAutoFit/>
          </a:bodyPr>
          <a:lstStyle/>
          <a:p>
            <a:r>
              <a:rPr lang="en-US" sz="2000">
                <a:solidFill>
                  <a:srgbClr val="0070C0"/>
                </a:solidFill>
              </a:rPr>
              <a:t>Max Temperature</a:t>
            </a:r>
          </a:p>
          <a:p>
            <a:r>
              <a:rPr lang="en-US" sz="2000">
                <a:solidFill>
                  <a:srgbClr val="0070C0"/>
                </a:solidFill>
              </a:rPr>
              <a:t>Min Temperature</a:t>
            </a:r>
          </a:p>
          <a:p>
            <a:r>
              <a:rPr lang="en-US" sz="2000">
                <a:solidFill>
                  <a:srgbClr val="0070C0"/>
                </a:solidFill>
              </a:rPr>
              <a:t>Average Temperature</a:t>
            </a:r>
          </a:p>
          <a:p>
            <a:r>
              <a:rPr lang="en-US" sz="2000">
                <a:solidFill>
                  <a:srgbClr val="0070C0"/>
                </a:solidFill>
              </a:rPr>
              <a:t>Average Relative Humidity</a:t>
            </a:r>
          </a:p>
          <a:p>
            <a:r>
              <a:rPr lang="en-US" sz="2000">
                <a:solidFill>
                  <a:srgbClr val="0070C0"/>
                </a:solidFill>
              </a:rPr>
              <a:t>Average Wind Speed</a:t>
            </a:r>
          </a:p>
          <a:p>
            <a:r>
              <a:rPr lang="en-US" sz="2000">
                <a:solidFill>
                  <a:srgbClr val="0070C0"/>
                </a:solidFill>
              </a:rPr>
              <a:t>Total Precipitation</a:t>
            </a:r>
          </a:p>
        </p:txBody>
      </p:sp>
      <p:sp>
        <p:nvSpPr>
          <p:cNvPr id="5" name="TextBox 4">
            <a:extLst>
              <a:ext uri="{FF2B5EF4-FFF2-40B4-BE49-F238E27FC236}">
                <a16:creationId xmlns:a16="http://schemas.microsoft.com/office/drawing/2014/main" id="{FBF989BE-2FC9-C908-243D-DA2D7ECAB17C}"/>
              </a:ext>
            </a:extLst>
          </p:cNvPr>
          <p:cNvSpPr txBox="1"/>
          <p:nvPr/>
        </p:nvSpPr>
        <p:spPr>
          <a:xfrm>
            <a:off x="865388" y="1174886"/>
            <a:ext cx="3303940" cy="369332"/>
          </a:xfrm>
          <a:prstGeom prst="rect">
            <a:avLst/>
          </a:prstGeom>
          <a:noFill/>
        </p:spPr>
        <p:txBody>
          <a:bodyPr wrap="square" rtlCol="0">
            <a:spAutoFit/>
          </a:bodyPr>
          <a:lstStyle/>
          <a:p>
            <a:pPr marL="285750" indent="-285750">
              <a:buFont typeface="Wingdings" panose="05000000000000000000" pitchFamily="2" charset="2"/>
              <a:buChar char="§"/>
            </a:pPr>
            <a:r>
              <a:rPr lang="en-US" b="1"/>
              <a:t>Modeled Weather Data</a:t>
            </a:r>
          </a:p>
        </p:txBody>
      </p:sp>
      <p:sp>
        <p:nvSpPr>
          <p:cNvPr id="6" name="TextBox 5">
            <a:extLst>
              <a:ext uri="{FF2B5EF4-FFF2-40B4-BE49-F238E27FC236}">
                <a16:creationId xmlns:a16="http://schemas.microsoft.com/office/drawing/2014/main" id="{E9090D9C-F1FA-CA30-D8D9-B93C832FDBD4}"/>
              </a:ext>
            </a:extLst>
          </p:cNvPr>
          <p:cNvSpPr txBox="1"/>
          <p:nvPr/>
        </p:nvSpPr>
        <p:spPr>
          <a:xfrm>
            <a:off x="865387" y="3720995"/>
            <a:ext cx="3303939" cy="646331"/>
          </a:xfrm>
          <a:prstGeom prst="rect">
            <a:avLst/>
          </a:prstGeom>
          <a:noFill/>
        </p:spPr>
        <p:txBody>
          <a:bodyPr wrap="square" rtlCol="0">
            <a:spAutoFit/>
          </a:bodyPr>
          <a:lstStyle/>
          <a:p>
            <a:pPr marL="285750" indent="-285750">
              <a:buFont typeface="Wingdings" panose="05000000000000000000" pitchFamily="2" charset="2"/>
              <a:buChar char="§"/>
            </a:pPr>
            <a:r>
              <a:rPr lang="en-US" b="1"/>
              <a:t>ERA5 Resampled Weather Data</a:t>
            </a:r>
          </a:p>
        </p:txBody>
      </p:sp>
      <p:sp>
        <p:nvSpPr>
          <p:cNvPr id="8" name="TextBox 7">
            <a:extLst>
              <a:ext uri="{FF2B5EF4-FFF2-40B4-BE49-F238E27FC236}">
                <a16:creationId xmlns:a16="http://schemas.microsoft.com/office/drawing/2014/main" id="{130E9D39-7572-D5EE-8C78-7FDFC7B77798}"/>
              </a:ext>
            </a:extLst>
          </p:cNvPr>
          <p:cNvSpPr txBox="1"/>
          <p:nvPr/>
        </p:nvSpPr>
        <p:spPr>
          <a:xfrm>
            <a:off x="865387" y="5389817"/>
            <a:ext cx="2204983" cy="369332"/>
          </a:xfrm>
          <a:prstGeom prst="rect">
            <a:avLst/>
          </a:prstGeom>
          <a:noFill/>
        </p:spPr>
        <p:txBody>
          <a:bodyPr wrap="square" rtlCol="0">
            <a:spAutoFit/>
          </a:bodyPr>
          <a:lstStyle/>
          <a:p>
            <a:pPr marL="285750" indent="-285750">
              <a:buFont typeface="Wingdings" panose="05000000000000000000" pitchFamily="2" charset="2"/>
              <a:buChar char="§"/>
            </a:pPr>
            <a:r>
              <a:rPr lang="en-US" b="1"/>
              <a:t>Soil 250 Datasets </a:t>
            </a:r>
          </a:p>
        </p:txBody>
      </p:sp>
      <p:sp>
        <p:nvSpPr>
          <p:cNvPr id="11" name="TextBox 10">
            <a:extLst>
              <a:ext uri="{FF2B5EF4-FFF2-40B4-BE49-F238E27FC236}">
                <a16:creationId xmlns:a16="http://schemas.microsoft.com/office/drawing/2014/main" id="{DF0F00DF-0893-8866-FE70-C4DEA8AA9BAF}"/>
              </a:ext>
            </a:extLst>
          </p:cNvPr>
          <p:cNvSpPr txBox="1"/>
          <p:nvPr/>
        </p:nvSpPr>
        <p:spPr>
          <a:xfrm>
            <a:off x="885693" y="5928923"/>
            <a:ext cx="1631664" cy="369332"/>
          </a:xfrm>
          <a:prstGeom prst="rect">
            <a:avLst/>
          </a:prstGeom>
          <a:noFill/>
        </p:spPr>
        <p:txBody>
          <a:bodyPr wrap="square" rtlCol="0">
            <a:spAutoFit/>
          </a:bodyPr>
          <a:lstStyle/>
          <a:p>
            <a:pPr marL="285750" indent="-285750">
              <a:buFont typeface="Wingdings" panose="05000000000000000000" pitchFamily="2" charset="2"/>
              <a:buChar char="§"/>
            </a:pPr>
            <a:r>
              <a:rPr lang="en-US" b="1"/>
              <a:t>Elevation</a:t>
            </a:r>
          </a:p>
        </p:txBody>
      </p:sp>
      <p:sp>
        <p:nvSpPr>
          <p:cNvPr id="12" name="Rectangle 11">
            <a:extLst>
              <a:ext uri="{FF2B5EF4-FFF2-40B4-BE49-F238E27FC236}">
                <a16:creationId xmlns:a16="http://schemas.microsoft.com/office/drawing/2014/main" id="{3D9AEB3F-97A4-58D7-EBA2-A315915EA8D1}"/>
              </a:ext>
            </a:extLst>
          </p:cNvPr>
          <p:cNvSpPr/>
          <p:nvPr/>
        </p:nvSpPr>
        <p:spPr>
          <a:xfrm>
            <a:off x="9309599" y="3056576"/>
            <a:ext cx="1888578" cy="617194"/>
          </a:xfrm>
          <a:prstGeom prst="rect">
            <a:avLst/>
          </a:prstGeom>
          <a:solidFill>
            <a:schemeClr val="accent5">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tx1"/>
                </a:solidFill>
              </a:rPr>
              <a:t>4km ARD</a:t>
            </a:r>
          </a:p>
        </p:txBody>
      </p:sp>
      <p:sp>
        <p:nvSpPr>
          <p:cNvPr id="3" name="Slide Number Placeholder 2">
            <a:extLst>
              <a:ext uri="{FF2B5EF4-FFF2-40B4-BE49-F238E27FC236}">
                <a16:creationId xmlns:a16="http://schemas.microsoft.com/office/drawing/2014/main" id="{00F22E15-01EE-FF64-1C18-383243B491A9}"/>
              </a:ext>
            </a:extLst>
          </p:cNvPr>
          <p:cNvSpPr>
            <a:spLocks noGrp="1"/>
          </p:cNvSpPr>
          <p:nvPr>
            <p:ph type="sldNum" sz="quarter" idx="12"/>
          </p:nvPr>
        </p:nvSpPr>
        <p:spPr/>
        <p:txBody>
          <a:bodyPr/>
          <a:lstStyle/>
          <a:p>
            <a:fld id="{EEAD9179-7A6B-4268-BEB2-F3B8EB06115B}" type="slidenum">
              <a:rPr lang="en-US" noProof="0" smtClean="0"/>
              <a:t>30</a:t>
            </a:fld>
            <a:endParaRPr lang="en-US" noProof="0"/>
          </a:p>
        </p:txBody>
      </p:sp>
      <p:sp>
        <p:nvSpPr>
          <p:cNvPr id="22" name="Rectangle 21">
            <a:extLst>
              <a:ext uri="{FF2B5EF4-FFF2-40B4-BE49-F238E27FC236}">
                <a16:creationId xmlns:a16="http://schemas.microsoft.com/office/drawing/2014/main" id="{84A884FF-D6E8-DB6E-BE2D-CD78B2329537}"/>
              </a:ext>
            </a:extLst>
          </p:cNvPr>
          <p:cNvSpPr/>
          <p:nvPr/>
        </p:nvSpPr>
        <p:spPr>
          <a:xfrm>
            <a:off x="885693" y="1174886"/>
            <a:ext cx="3475308" cy="5123369"/>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 name="Straight Arrow Connector 26">
            <a:extLst>
              <a:ext uri="{FF2B5EF4-FFF2-40B4-BE49-F238E27FC236}">
                <a16:creationId xmlns:a16="http://schemas.microsoft.com/office/drawing/2014/main" id="{9DF090FC-BE88-4448-BF11-C6BAAEE37B76}"/>
              </a:ext>
            </a:extLst>
          </p:cNvPr>
          <p:cNvCxnSpPr>
            <a:cxnSpLocks/>
          </p:cNvCxnSpPr>
          <p:nvPr/>
        </p:nvCxnSpPr>
        <p:spPr>
          <a:xfrm>
            <a:off x="4475980" y="2998950"/>
            <a:ext cx="116134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9" name="TextBox 28">
            <a:extLst>
              <a:ext uri="{FF2B5EF4-FFF2-40B4-BE49-F238E27FC236}">
                <a16:creationId xmlns:a16="http://schemas.microsoft.com/office/drawing/2014/main" id="{45C99936-BD6F-80BE-E422-684ACF5B6162}"/>
              </a:ext>
            </a:extLst>
          </p:cNvPr>
          <p:cNvSpPr txBox="1"/>
          <p:nvPr/>
        </p:nvSpPr>
        <p:spPr>
          <a:xfrm>
            <a:off x="885693" y="6398033"/>
            <a:ext cx="3475308" cy="369332"/>
          </a:xfrm>
          <a:prstGeom prst="rect">
            <a:avLst/>
          </a:prstGeom>
          <a:noFill/>
        </p:spPr>
        <p:txBody>
          <a:bodyPr wrap="square" rtlCol="0">
            <a:spAutoFit/>
          </a:bodyPr>
          <a:lstStyle/>
          <a:p>
            <a:pPr marL="285750" indent="-285750">
              <a:buFont typeface="Wingdings" panose="05000000000000000000" pitchFamily="2" charset="2"/>
              <a:buChar char="§"/>
            </a:pPr>
            <a:r>
              <a:rPr lang="en-US" b="1" i="1">
                <a:solidFill>
                  <a:srgbClr val="7030A0"/>
                </a:solidFill>
              </a:rPr>
              <a:t>Satellite Land Surface Temp.</a:t>
            </a:r>
          </a:p>
        </p:txBody>
      </p:sp>
      <p:cxnSp>
        <p:nvCxnSpPr>
          <p:cNvPr id="32" name="Connector: Elbow 31">
            <a:extLst>
              <a:ext uri="{FF2B5EF4-FFF2-40B4-BE49-F238E27FC236}">
                <a16:creationId xmlns:a16="http://schemas.microsoft.com/office/drawing/2014/main" id="{4CCCEBD3-DE28-77A4-5107-F7A7832F5360}"/>
              </a:ext>
            </a:extLst>
          </p:cNvPr>
          <p:cNvCxnSpPr>
            <a:cxnSpLocks/>
          </p:cNvCxnSpPr>
          <p:nvPr/>
        </p:nvCxnSpPr>
        <p:spPr>
          <a:xfrm>
            <a:off x="4361001" y="4944862"/>
            <a:ext cx="1843884" cy="1068949"/>
          </a:xfrm>
          <a:prstGeom prst="bent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34" name="Connector: Elbow 33">
            <a:extLst>
              <a:ext uri="{FF2B5EF4-FFF2-40B4-BE49-F238E27FC236}">
                <a16:creationId xmlns:a16="http://schemas.microsoft.com/office/drawing/2014/main" id="{08419CF4-CBAD-281D-882F-893CEFAF773B}"/>
              </a:ext>
            </a:extLst>
          </p:cNvPr>
          <p:cNvCxnSpPr>
            <a:cxnSpLocks/>
            <a:stCxn id="29" idx="3"/>
          </p:cNvCxnSpPr>
          <p:nvPr/>
        </p:nvCxnSpPr>
        <p:spPr>
          <a:xfrm flipV="1">
            <a:off x="4361001" y="6013811"/>
            <a:ext cx="1843884" cy="568888"/>
          </a:xfrm>
          <a:prstGeom prst="bentConnector3">
            <a:avLst/>
          </a:prstGeom>
          <a:ln>
            <a:tailEnd type="triangle"/>
          </a:ln>
        </p:spPr>
        <p:style>
          <a:lnRef idx="1">
            <a:schemeClr val="dk1"/>
          </a:lnRef>
          <a:fillRef idx="0">
            <a:schemeClr val="dk1"/>
          </a:fillRef>
          <a:effectRef idx="0">
            <a:schemeClr val="dk1"/>
          </a:effectRef>
          <a:fontRef idx="minor">
            <a:schemeClr val="tx1"/>
          </a:fontRef>
        </p:style>
      </p:cxnSp>
      <p:grpSp>
        <p:nvGrpSpPr>
          <p:cNvPr id="25" name="Group 24">
            <a:extLst>
              <a:ext uri="{FF2B5EF4-FFF2-40B4-BE49-F238E27FC236}">
                <a16:creationId xmlns:a16="http://schemas.microsoft.com/office/drawing/2014/main" id="{B3357281-751E-41D7-8395-1B7BE658370E}"/>
              </a:ext>
            </a:extLst>
          </p:cNvPr>
          <p:cNvGrpSpPr/>
          <p:nvPr/>
        </p:nvGrpSpPr>
        <p:grpSpPr>
          <a:xfrm>
            <a:off x="5751313" y="1359552"/>
            <a:ext cx="2886335" cy="3209116"/>
            <a:chOff x="5657050" y="1350679"/>
            <a:chExt cx="2886335" cy="3209116"/>
          </a:xfrm>
        </p:grpSpPr>
        <p:pic>
          <p:nvPicPr>
            <p:cNvPr id="21" name="Picture 20" descr="A screenshot of datasets&#10;&#10;Description automatically generated">
              <a:extLst>
                <a:ext uri="{FF2B5EF4-FFF2-40B4-BE49-F238E27FC236}">
                  <a16:creationId xmlns:a16="http://schemas.microsoft.com/office/drawing/2014/main" id="{05E9C9B5-A17B-24B5-B9B6-1AD4D12EEC4A}"/>
                </a:ext>
              </a:extLst>
            </p:cNvPr>
            <p:cNvPicPr>
              <a:picLocks noChangeAspect="1"/>
            </p:cNvPicPr>
            <p:nvPr/>
          </p:nvPicPr>
          <p:blipFill rotWithShape="1">
            <a:blip r:embed="rId3">
              <a:extLst>
                <a:ext uri="{28A0092B-C50C-407E-A947-70E740481C1C}">
                  <a14:useLocalDpi xmlns:a14="http://schemas.microsoft.com/office/drawing/2010/main" val="0"/>
                </a:ext>
              </a:extLst>
            </a:blip>
            <a:srcRect l="67539" t="14324" r="7812" b="12302"/>
            <a:stretch/>
          </p:blipFill>
          <p:spPr>
            <a:xfrm>
              <a:off x="5657050" y="1350679"/>
              <a:ext cx="1745474" cy="2205040"/>
            </a:xfrm>
            <a:prstGeom prst="rect">
              <a:avLst/>
            </a:prstGeom>
            <a:ln>
              <a:solidFill>
                <a:schemeClr val="tx1"/>
              </a:solidFill>
            </a:ln>
          </p:spPr>
        </p:pic>
        <p:pic>
          <p:nvPicPr>
            <p:cNvPr id="16" name="Picture 15" descr="A screenshot of datas&#10;&#10;Description automatically generated">
              <a:extLst>
                <a:ext uri="{FF2B5EF4-FFF2-40B4-BE49-F238E27FC236}">
                  <a16:creationId xmlns:a16="http://schemas.microsoft.com/office/drawing/2014/main" id="{D9A75E5E-D421-9F02-C653-2DCED4BEE310}"/>
                </a:ext>
              </a:extLst>
            </p:cNvPr>
            <p:cNvPicPr>
              <a:picLocks noChangeAspect="1"/>
            </p:cNvPicPr>
            <p:nvPr/>
          </p:nvPicPr>
          <p:blipFill rotWithShape="1">
            <a:blip r:embed="rId4">
              <a:extLst>
                <a:ext uri="{28A0092B-C50C-407E-A947-70E740481C1C}">
                  <a14:useLocalDpi xmlns:a14="http://schemas.microsoft.com/office/drawing/2010/main" val="0"/>
                </a:ext>
              </a:extLst>
            </a:blip>
            <a:srcRect l="66879" t="13287" r="8946" b="13389"/>
            <a:stretch/>
          </p:blipFill>
          <p:spPr>
            <a:xfrm>
              <a:off x="5863113" y="1492991"/>
              <a:ext cx="1693032" cy="2165443"/>
            </a:xfrm>
            <a:prstGeom prst="rect">
              <a:avLst/>
            </a:prstGeom>
            <a:ln>
              <a:solidFill>
                <a:schemeClr val="tx1"/>
              </a:solidFill>
            </a:ln>
          </p:spPr>
        </p:pic>
        <p:pic>
          <p:nvPicPr>
            <p:cNvPr id="18" name="Picture 17" descr="A screenshot of datasets&#10;&#10;Description automatically generated">
              <a:extLst>
                <a:ext uri="{FF2B5EF4-FFF2-40B4-BE49-F238E27FC236}">
                  <a16:creationId xmlns:a16="http://schemas.microsoft.com/office/drawing/2014/main" id="{2A4E8EF0-D5ED-9550-4830-1904FC63FFB2}"/>
                </a:ext>
              </a:extLst>
            </p:cNvPr>
            <p:cNvPicPr>
              <a:picLocks noChangeAspect="1"/>
            </p:cNvPicPr>
            <p:nvPr/>
          </p:nvPicPr>
          <p:blipFill rotWithShape="1">
            <a:blip r:embed="rId5">
              <a:extLst>
                <a:ext uri="{28A0092B-C50C-407E-A947-70E740481C1C}">
                  <a14:useLocalDpi xmlns:a14="http://schemas.microsoft.com/office/drawing/2010/main" val="0"/>
                </a:ext>
              </a:extLst>
            </a:blip>
            <a:srcRect l="67787" t="13598" r="7744" b="13095"/>
            <a:stretch/>
          </p:blipFill>
          <p:spPr>
            <a:xfrm>
              <a:off x="6110622" y="1693538"/>
              <a:ext cx="1745474" cy="2207785"/>
            </a:xfrm>
            <a:prstGeom prst="rect">
              <a:avLst/>
            </a:prstGeom>
            <a:ln>
              <a:solidFill>
                <a:schemeClr val="tx1"/>
              </a:solidFill>
            </a:ln>
          </p:spPr>
        </p:pic>
        <p:pic>
          <p:nvPicPr>
            <p:cNvPr id="20" name="Picture 19" descr="A screenshot of datasets&#10;&#10;Description automatically generated">
              <a:extLst>
                <a:ext uri="{FF2B5EF4-FFF2-40B4-BE49-F238E27FC236}">
                  <a16:creationId xmlns:a16="http://schemas.microsoft.com/office/drawing/2014/main" id="{E67D2468-7831-F453-2A52-5723971AE552}"/>
                </a:ext>
              </a:extLst>
            </p:cNvPr>
            <p:cNvPicPr>
              <a:picLocks noChangeAspect="1"/>
            </p:cNvPicPr>
            <p:nvPr/>
          </p:nvPicPr>
          <p:blipFill rotWithShape="1">
            <a:blip r:embed="rId3">
              <a:extLst>
                <a:ext uri="{28A0092B-C50C-407E-A947-70E740481C1C}">
                  <a14:useLocalDpi xmlns:a14="http://schemas.microsoft.com/office/drawing/2010/main" val="0"/>
                </a:ext>
              </a:extLst>
            </a:blip>
            <a:srcRect l="67539" t="14324" r="7812" b="12302"/>
            <a:stretch/>
          </p:blipFill>
          <p:spPr>
            <a:xfrm>
              <a:off x="6339628" y="1912386"/>
              <a:ext cx="1745474" cy="2205040"/>
            </a:xfrm>
            <a:prstGeom prst="rect">
              <a:avLst/>
            </a:prstGeom>
            <a:ln>
              <a:solidFill>
                <a:schemeClr val="tx1"/>
              </a:solidFill>
            </a:ln>
          </p:spPr>
        </p:pic>
        <p:pic>
          <p:nvPicPr>
            <p:cNvPr id="23" name="Picture 22">
              <a:extLst>
                <a:ext uri="{FF2B5EF4-FFF2-40B4-BE49-F238E27FC236}">
                  <a16:creationId xmlns:a16="http://schemas.microsoft.com/office/drawing/2014/main" id="{9C3B8CF1-ADC3-7D75-659A-265DE7E1097C}"/>
                </a:ext>
              </a:extLst>
            </p:cNvPr>
            <p:cNvPicPr>
              <a:picLocks noChangeAspect="1"/>
            </p:cNvPicPr>
            <p:nvPr/>
          </p:nvPicPr>
          <p:blipFill>
            <a:blip r:embed="rId6">
              <a:extLst>
                <a:ext uri="{28A0092B-C50C-407E-A947-70E740481C1C}">
                  <a14:useLocalDpi xmlns:a14="http://schemas.microsoft.com/office/drawing/2010/main" val="0"/>
                </a:ext>
              </a:extLst>
            </a:blip>
            <a:srcRect l="4115" r="4115"/>
            <a:stretch/>
          </p:blipFill>
          <p:spPr>
            <a:xfrm>
              <a:off x="6568634" y="2121563"/>
              <a:ext cx="1745474" cy="2205040"/>
            </a:xfrm>
            <a:prstGeom prst="rect">
              <a:avLst/>
            </a:prstGeom>
            <a:ln>
              <a:solidFill>
                <a:schemeClr val="tx1"/>
              </a:solidFill>
            </a:ln>
          </p:spPr>
        </p:pic>
        <p:pic>
          <p:nvPicPr>
            <p:cNvPr id="24" name="Picture 23">
              <a:extLst>
                <a:ext uri="{FF2B5EF4-FFF2-40B4-BE49-F238E27FC236}">
                  <a16:creationId xmlns:a16="http://schemas.microsoft.com/office/drawing/2014/main" id="{A6334269-1A73-EE1F-6E20-86D8472D0F9F}"/>
                </a:ext>
              </a:extLst>
            </p:cNvPr>
            <p:cNvPicPr>
              <a:picLocks noChangeAspect="1"/>
            </p:cNvPicPr>
            <p:nvPr/>
          </p:nvPicPr>
          <p:blipFill>
            <a:blip r:embed="rId7">
              <a:extLst>
                <a:ext uri="{28A0092B-C50C-407E-A947-70E740481C1C}">
                  <a14:useLocalDpi xmlns:a14="http://schemas.microsoft.com/office/drawing/2010/main" val="0"/>
                </a:ext>
              </a:extLst>
            </a:blip>
            <a:srcRect l="3811" r="3811"/>
            <a:stretch/>
          </p:blipFill>
          <p:spPr>
            <a:xfrm>
              <a:off x="6797911" y="2354755"/>
              <a:ext cx="1745474" cy="2205040"/>
            </a:xfrm>
            <a:prstGeom prst="rect">
              <a:avLst/>
            </a:prstGeom>
            <a:ln>
              <a:solidFill>
                <a:schemeClr val="tx1"/>
              </a:solidFill>
            </a:ln>
          </p:spPr>
        </p:pic>
      </p:grpSp>
      <p:sp>
        <p:nvSpPr>
          <p:cNvPr id="28" name="Rectangle 27">
            <a:extLst>
              <a:ext uri="{FF2B5EF4-FFF2-40B4-BE49-F238E27FC236}">
                <a16:creationId xmlns:a16="http://schemas.microsoft.com/office/drawing/2014/main" id="{F8CA0F20-230F-4570-700C-FA2F2B52DCF4}"/>
              </a:ext>
            </a:extLst>
          </p:cNvPr>
          <p:cNvSpPr/>
          <p:nvPr/>
        </p:nvSpPr>
        <p:spPr>
          <a:xfrm>
            <a:off x="9309599" y="5676320"/>
            <a:ext cx="1888578" cy="617194"/>
          </a:xfrm>
          <a:prstGeom prst="rect">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tx1"/>
                </a:solidFill>
              </a:rPr>
              <a:t>100m ARD</a:t>
            </a:r>
          </a:p>
        </p:txBody>
      </p:sp>
      <p:grpSp>
        <p:nvGrpSpPr>
          <p:cNvPr id="43" name="Group 42">
            <a:extLst>
              <a:ext uri="{FF2B5EF4-FFF2-40B4-BE49-F238E27FC236}">
                <a16:creationId xmlns:a16="http://schemas.microsoft.com/office/drawing/2014/main" id="{1BA4ECC9-B540-3490-1ACD-778434F438B4}"/>
              </a:ext>
            </a:extLst>
          </p:cNvPr>
          <p:cNvGrpSpPr/>
          <p:nvPr/>
        </p:nvGrpSpPr>
        <p:grpSpPr>
          <a:xfrm>
            <a:off x="6299755" y="4773370"/>
            <a:ext cx="2250080" cy="1968080"/>
            <a:chOff x="6250638" y="4864927"/>
            <a:chExt cx="2250080" cy="1968080"/>
          </a:xfrm>
        </p:grpSpPr>
        <p:pic>
          <p:nvPicPr>
            <p:cNvPr id="33" name="Picture 32" descr="A yellow and black pixelated animal&#10;&#10;Description automatically generated">
              <a:extLst>
                <a:ext uri="{FF2B5EF4-FFF2-40B4-BE49-F238E27FC236}">
                  <a16:creationId xmlns:a16="http://schemas.microsoft.com/office/drawing/2014/main" id="{F5909640-22FD-A1A9-8806-83E7356CFCD7}"/>
                </a:ext>
              </a:extLst>
            </p:cNvPr>
            <p:cNvPicPr>
              <a:picLocks noChangeAspect="1"/>
            </p:cNvPicPr>
            <p:nvPr/>
          </p:nvPicPr>
          <p:blipFill rotWithShape="1">
            <a:blip r:embed="rId8">
              <a:extLst>
                <a:ext uri="{28A0092B-C50C-407E-A947-70E740481C1C}">
                  <a14:useLocalDpi xmlns:a14="http://schemas.microsoft.com/office/drawing/2010/main" val="0"/>
                </a:ext>
              </a:extLst>
            </a:blip>
            <a:srcRect l="1731" t="2038" r="1425" b="1726"/>
            <a:stretch/>
          </p:blipFill>
          <p:spPr>
            <a:xfrm>
              <a:off x="6250638" y="4864927"/>
              <a:ext cx="1517651" cy="1276118"/>
            </a:xfrm>
            <a:prstGeom prst="rect">
              <a:avLst/>
            </a:prstGeom>
            <a:ln>
              <a:solidFill>
                <a:schemeClr val="tx1"/>
              </a:solidFill>
            </a:ln>
          </p:spPr>
        </p:pic>
        <p:pic>
          <p:nvPicPr>
            <p:cNvPr id="35" name="Picture 34">
              <a:extLst>
                <a:ext uri="{FF2B5EF4-FFF2-40B4-BE49-F238E27FC236}">
                  <a16:creationId xmlns:a16="http://schemas.microsoft.com/office/drawing/2014/main" id="{E1097BD4-836A-3864-2107-FE4601DD088A}"/>
                </a:ext>
              </a:extLst>
            </p:cNvPr>
            <p:cNvPicPr>
              <a:picLocks noChangeAspect="1"/>
            </p:cNvPicPr>
            <p:nvPr/>
          </p:nvPicPr>
          <p:blipFill rotWithShape="1">
            <a:blip r:embed="rId9">
              <a:extLst>
                <a:ext uri="{28A0092B-C50C-407E-A947-70E740481C1C}">
                  <a14:useLocalDpi xmlns:a14="http://schemas.microsoft.com/office/drawing/2010/main" val="0"/>
                </a:ext>
              </a:extLst>
            </a:blip>
            <a:srcRect l="1203" t="1915" r="1830" b="2699"/>
            <a:stretch/>
          </p:blipFill>
          <p:spPr>
            <a:xfrm>
              <a:off x="6421295" y="5032157"/>
              <a:ext cx="1471614" cy="1236295"/>
            </a:xfrm>
            <a:prstGeom prst="rect">
              <a:avLst/>
            </a:prstGeom>
            <a:ln>
              <a:solidFill>
                <a:schemeClr val="tx1"/>
              </a:solidFill>
            </a:ln>
          </p:spPr>
        </p:pic>
        <p:pic>
          <p:nvPicPr>
            <p:cNvPr id="36" name="Picture 35">
              <a:extLst>
                <a:ext uri="{FF2B5EF4-FFF2-40B4-BE49-F238E27FC236}">
                  <a16:creationId xmlns:a16="http://schemas.microsoft.com/office/drawing/2014/main" id="{D0500B77-455D-83F1-F712-86DD603FC36C}"/>
                </a:ext>
              </a:extLst>
            </p:cNvPr>
            <p:cNvPicPr>
              <a:picLocks noChangeAspect="1"/>
            </p:cNvPicPr>
            <p:nvPr/>
          </p:nvPicPr>
          <p:blipFill rotWithShape="1">
            <a:blip r:embed="rId10">
              <a:extLst>
                <a:ext uri="{28A0092B-C50C-407E-A947-70E740481C1C}">
                  <a14:useLocalDpi xmlns:a14="http://schemas.microsoft.com/office/drawing/2010/main" val="0"/>
                </a:ext>
              </a:extLst>
            </a:blip>
            <a:srcRect l="1830" t="1426" r="1204" b="2956"/>
            <a:stretch/>
          </p:blipFill>
          <p:spPr>
            <a:xfrm>
              <a:off x="6583217" y="5176219"/>
              <a:ext cx="1471615" cy="1243227"/>
            </a:xfrm>
            <a:prstGeom prst="rect">
              <a:avLst/>
            </a:prstGeom>
            <a:ln>
              <a:solidFill>
                <a:schemeClr val="tx1"/>
              </a:solidFill>
            </a:ln>
          </p:spPr>
        </p:pic>
        <p:pic>
          <p:nvPicPr>
            <p:cNvPr id="37" name="Picture 36">
              <a:extLst>
                <a:ext uri="{FF2B5EF4-FFF2-40B4-BE49-F238E27FC236}">
                  <a16:creationId xmlns:a16="http://schemas.microsoft.com/office/drawing/2014/main" id="{FB1BB6F7-93CE-B2AF-6D12-7D1F152F2BD6}"/>
                </a:ext>
              </a:extLst>
            </p:cNvPr>
            <p:cNvPicPr>
              <a:picLocks noChangeAspect="1"/>
            </p:cNvPicPr>
            <p:nvPr/>
          </p:nvPicPr>
          <p:blipFill rotWithShape="1">
            <a:blip r:embed="rId11">
              <a:extLst>
                <a:ext uri="{28A0092B-C50C-407E-A947-70E740481C1C}">
                  <a14:useLocalDpi xmlns:a14="http://schemas.microsoft.com/office/drawing/2010/main" val="0"/>
                </a:ext>
              </a:extLst>
            </a:blip>
            <a:srcRect l="1928" t="1784" r="1104" b="1940"/>
            <a:stretch/>
          </p:blipFill>
          <p:spPr>
            <a:xfrm>
              <a:off x="6737109" y="5337562"/>
              <a:ext cx="1471615" cy="1243228"/>
            </a:xfrm>
            <a:prstGeom prst="rect">
              <a:avLst/>
            </a:prstGeom>
            <a:ln>
              <a:solidFill>
                <a:schemeClr val="tx1"/>
              </a:solidFill>
            </a:ln>
          </p:spPr>
        </p:pic>
        <p:pic>
          <p:nvPicPr>
            <p:cNvPr id="38" name="Picture 37">
              <a:extLst>
                <a:ext uri="{FF2B5EF4-FFF2-40B4-BE49-F238E27FC236}">
                  <a16:creationId xmlns:a16="http://schemas.microsoft.com/office/drawing/2014/main" id="{6F5F416A-4624-C63C-1753-648878CFEEA0}"/>
                </a:ext>
              </a:extLst>
            </p:cNvPr>
            <p:cNvPicPr>
              <a:picLocks noChangeAspect="1"/>
            </p:cNvPicPr>
            <p:nvPr/>
          </p:nvPicPr>
          <p:blipFill rotWithShape="1">
            <a:blip r:embed="rId12">
              <a:extLst>
                <a:ext uri="{28A0092B-C50C-407E-A947-70E740481C1C}">
                  <a14:useLocalDpi xmlns:a14="http://schemas.microsoft.com/office/drawing/2010/main" val="0"/>
                </a:ext>
              </a:extLst>
            </a:blip>
            <a:srcRect l="1517" t="1664" r="1006" b="2555"/>
            <a:stretch/>
          </p:blipFill>
          <p:spPr>
            <a:xfrm>
              <a:off x="6883259" y="5485191"/>
              <a:ext cx="1479358" cy="1243228"/>
            </a:xfrm>
            <a:prstGeom prst="rect">
              <a:avLst/>
            </a:prstGeom>
            <a:ln>
              <a:solidFill>
                <a:schemeClr val="tx1"/>
              </a:solidFill>
            </a:ln>
          </p:spPr>
        </p:pic>
        <p:pic>
          <p:nvPicPr>
            <p:cNvPr id="42" name="Picture 41">
              <a:extLst>
                <a:ext uri="{FF2B5EF4-FFF2-40B4-BE49-F238E27FC236}">
                  <a16:creationId xmlns:a16="http://schemas.microsoft.com/office/drawing/2014/main" id="{977C24D3-A350-3A2E-C184-4C3866D66E77}"/>
                </a:ext>
              </a:extLst>
            </p:cNvPr>
            <p:cNvPicPr>
              <a:picLocks noChangeAspect="1"/>
            </p:cNvPicPr>
            <p:nvPr/>
          </p:nvPicPr>
          <p:blipFill rotWithShape="1">
            <a:blip r:embed="rId9">
              <a:extLst>
                <a:ext uri="{28A0092B-C50C-407E-A947-70E740481C1C}">
                  <a14:useLocalDpi xmlns:a14="http://schemas.microsoft.com/office/drawing/2010/main" val="0"/>
                </a:ext>
              </a:extLst>
            </a:blip>
            <a:srcRect l="1203" t="1915" r="1830" b="2699"/>
            <a:stretch/>
          </p:blipFill>
          <p:spPr>
            <a:xfrm>
              <a:off x="7029104" y="5596712"/>
              <a:ext cx="1471614" cy="1236295"/>
            </a:xfrm>
            <a:prstGeom prst="rect">
              <a:avLst/>
            </a:prstGeom>
            <a:ln>
              <a:solidFill>
                <a:schemeClr val="tx1"/>
              </a:solidFill>
            </a:ln>
          </p:spPr>
        </p:pic>
      </p:grpSp>
    </p:spTree>
    <p:extLst>
      <p:ext uri="{BB962C8B-B14F-4D97-AF65-F5344CB8AC3E}">
        <p14:creationId xmlns:p14="http://schemas.microsoft.com/office/powerpoint/2010/main" val="41583183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p:cTn id="7" dur="750" fill="hold"/>
                                        <p:tgtEl>
                                          <p:spTgt spid="22"/>
                                        </p:tgtEl>
                                        <p:attrNameLst>
                                          <p:attrName>ppt_w</p:attrName>
                                        </p:attrNameLst>
                                      </p:cBhvr>
                                      <p:tavLst>
                                        <p:tav tm="0">
                                          <p:val>
                                            <p:fltVal val="0"/>
                                          </p:val>
                                        </p:tav>
                                        <p:tav tm="100000">
                                          <p:val>
                                            <p:strVal val="#ppt_w"/>
                                          </p:val>
                                        </p:tav>
                                      </p:tavLst>
                                    </p:anim>
                                    <p:anim calcmode="lin" valueType="num">
                                      <p:cBhvr>
                                        <p:cTn id="8" dur="750" fill="hold"/>
                                        <p:tgtEl>
                                          <p:spTgt spid="22"/>
                                        </p:tgtEl>
                                        <p:attrNameLst>
                                          <p:attrName>ppt_h</p:attrName>
                                        </p:attrNameLst>
                                      </p:cBhvr>
                                      <p:tavLst>
                                        <p:tav tm="0">
                                          <p:val>
                                            <p:fltVal val="0"/>
                                          </p:val>
                                        </p:tav>
                                        <p:tav tm="100000">
                                          <p:val>
                                            <p:strVal val="#ppt_h"/>
                                          </p:val>
                                        </p:tav>
                                      </p:tavLst>
                                    </p:anim>
                                    <p:animEffect transition="in" filter="fade">
                                      <p:cBhvr>
                                        <p:cTn id="9" dur="750"/>
                                        <p:tgtEl>
                                          <p:spTgt spid="22"/>
                                        </p:tgtEl>
                                      </p:cBhvr>
                                    </p:animEffect>
                                  </p:childTnLst>
                                </p:cTn>
                              </p:par>
                              <p:par>
                                <p:cTn id="10" presetID="53" presetClass="entr" presetSubtype="16" fill="hold" nodeType="withEffect">
                                  <p:stCondLst>
                                    <p:cond delay="0"/>
                                  </p:stCondLst>
                                  <p:childTnLst>
                                    <p:set>
                                      <p:cBhvr>
                                        <p:cTn id="11" dur="1" fill="hold">
                                          <p:stCondLst>
                                            <p:cond delay="0"/>
                                          </p:stCondLst>
                                        </p:cTn>
                                        <p:tgtEl>
                                          <p:spTgt spid="27"/>
                                        </p:tgtEl>
                                        <p:attrNameLst>
                                          <p:attrName>style.visibility</p:attrName>
                                        </p:attrNameLst>
                                      </p:cBhvr>
                                      <p:to>
                                        <p:strVal val="visible"/>
                                      </p:to>
                                    </p:set>
                                    <p:anim calcmode="lin" valueType="num">
                                      <p:cBhvr>
                                        <p:cTn id="12" dur="750" fill="hold"/>
                                        <p:tgtEl>
                                          <p:spTgt spid="27"/>
                                        </p:tgtEl>
                                        <p:attrNameLst>
                                          <p:attrName>ppt_w</p:attrName>
                                        </p:attrNameLst>
                                      </p:cBhvr>
                                      <p:tavLst>
                                        <p:tav tm="0">
                                          <p:val>
                                            <p:fltVal val="0"/>
                                          </p:val>
                                        </p:tav>
                                        <p:tav tm="100000">
                                          <p:val>
                                            <p:strVal val="#ppt_w"/>
                                          </p:val>
                                        </p:tav>
                                      </p:tavLst>
                                    </p:anim>
                                    <p:anim calcmode="lin" valueType="num">
                                      <p:cBhvr>
                                        <p:cTn id="13" dur="750" fill="hold"/>
                                        <p:tgtEl>
                                          <p:spTgt spid="27"/>
                                        </p:tgtEl>
                                        <p:attrNameLst>
                                          <p:attrName>ppt_h</p:attrName>
                                        </p:attrNameLst>
                                      </p:cBhvr>
                                      <p:tavLst>
                                        <p:tav tm="0">
                                          <p:val>
                                            <p:fltVal val="0"/>
                                          </p:val>
                                        </p:tav>
                                        <p:tav tm="100000">
                                          <p:val>
                                            <p:strVal val="#ppt_h"/>
                                          </p:val>
                                        </p:tav>
                                      </p:tavLst>
                                    </p:anim>
                                    <p:animEffect transition="in" filter="fade">
                                      <p:cBhvr>
                                        <p:cTn id="14" dur="750"/>
                                        <p:tgtEl>
                                          <p:spTgt spid="27"/>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 calcmode="lin" valueType="num">
                                      <p:cBhvr>
                                        <p:cTn id="17" dur="750" fill="hold"/>
                                        <p:tgtEl>
                                          <p:spTgt spid="12"/>
                                        </p:tgtEl>
                                        <p:attrNameLst>
                                          <p:attrName>ppt_w</p:attrName>
                                        </p:attrNameLst>
                                      </p:cBhvr>
                                      <p:tavLst>
                                        <p:tav tm="0">
                                          <p:val>
                                            <p:fltVal val="0"/>
                                          </p:val>
                                        </p:tav>
                                        <p:tav tm="100000">
                                          <p:val>
                                            <p:strVal val="#ppt_w"/>
                                          </p:val>
                                        </p:tav>
                                      </p:tavLst>
                                    </p:anim>
                                    <p:anim calcmode="lin" valueType="num">
                                      <p:cBhvr>
                                        <p:cTn id="18" dur="750" fill="hold"/>
                                        <p:tgtEl>
                                          <p:spTgt spid="12"/>
                                        </p:tgtEl>
                                        <p:attrNameLst>
                                          <p:attrName>ppt_h</p:attrName>
                                        </p:attrNameLst>
                                      </p:cBhvr>
                                      <p:tavLst>
                                        <p:tav tm="0">
                                          <p:val>
                                            <p:fltVal val="0"/>
                                          </p:val>
                                        </p:tav>
                                        <p:tav tm="100000">
                                          <p:val>
                                            <p:strVal val="#ppt_h"/>
                                          </p:val>
                                        </p:tav>
                                      </p:tavLst>
                                    </p:anim>
                                    <p:animEffect transition="in" filter="fade">
                                      <p:cBhvr>
                                        <p:cTn id="19" dur="750"/>
                                        <p:tgtEl>
                                          <p:spTgt spid="12"/>
                                        </p:tgtEl>
                                      </p:cBhvr>
                                    </p:animEffect>
                                  </p:childTnLst>
                                </p:cTn>
                              </p:par>
                              <p:par>
                                <p:cTn id="20" presetID="53" presetClass="entr" presetSubtype="16" fill="hold" nodeType="withEffect">
                                  <p:stCondLst>
                                    <p:cond delay="0"/>
                                  </p:stCondLst>
                                  <p:childTnLst>
                                    <p:set>
                                      <p:cBhvr>
                                        <p:cTn id="21" dur="1" fill="hold">
                                          <p:stCondLst>
                                            <p:cond delay="0"/>
                                          </p:stCondLst>
                                        </p:cTn>
                                        <p:tgtEl>
                                          <p:spTgt spid="25"/>
                                        </p:tgtEl>
                                        <p:attrNameLst>
                                          <p:attrName>style.visibility</p:attrName>
                                        </p:attrNameLst>
                                      </p:cBhvr>
                                      <p:to>
                                        <p:strVal val="visible"/>
                                      </p:to>
                                    </p:set>
                                    <p:anim calcmode="lin" valueType="num">
                                      <p:cBhvr>
                                        <p:cTn id="22" dur="500" fill="hold"/>
                                        <p:tgtEl>
                                          <p:spTgt spid="25"/>
                                        </p:tgtEl>
                                        <p:attrNameLst>
                                          <p:attrName>ppt_w</p:attrName>
                                        </p:attrNameLst>
                                      </p:cBhvr>
                                      <p:tavLst>
                                        <p:tav tm="0">
                                          <p:val>
                                            <p:fltVal val="0"/>
                                          </p:val>
                                        </p:tav>
                                        <p:tav tm="100000">
                                          <p:val>
                                            <p:strVal val="#ppt_w"/>
                                          </p:val>
                                        </p:tav>
                                      </p:tavLst>
                                    </p:anim>
                                    <p:anim calcmode="lin" valueType="num">
                                      <p:cBhvr>
                                        <p:cTn id="23" dur="500" fill="hold"/>
                                        <p:tgtEl>
                                          <p:spTgt spid="25"/>
                                        </p:tgtEl>
                                        <p:attrNameLst>
                                          <p:attrName>ppt_h</p:attrName>
                                        </p:attrNameLst>
                                      </p:cBhvr>
                                      <p:tavLst>
                                        <p:tav tm="0">
                                          <p:val>
                                            <p:fltVal val="0"/>
                                          </p:val>
                                        </p:tav>
                                        <p:tav tm="100000">
                                          <p:val>
                                            <p:strVal val="#ppt_h"/>
                                          </p:val>
                                        </p:tav>
                                      </p:tavLst>
                                    </p:anim>
                                    <p:animEffect transition="in" filter="fade">
                                      <p:cBhvr>
                                        <p:cTn id="24" dur="500"/>
                                        <p:tgtEl>
                                          <p:spTgt spid="25"/>
                                        </p:tgtEl>
                                      </p:cBhvr>
                                    </p:animEffect>
                                  </p:childTnLst>
                                </p:cTn>
                              </p:par>
                            </p:childTnLst>
                          </p:cTn>
                        </p:par>
                      </p:childTnLst>
                    </p:cTn>
                  </p:par>
                  <p:par>
                    <p:cTn id="25" fill="hold">
                      <p:stCondLst>
                        <p:cond delay="indefinite"/>
                      </p:stCondLst>
                      <p:childTnLst>
                        <p:par>
                          <p:cTn id="26" fill="hold">
                            <p:stCondLst>
                              <p:cond delay="0"/>
                            </p:stCondLst>
                            <p:childTnLst>
                              <p:par>
                                <p:cTn id="27" presetID="42" presetClass="entr" presetSubtype="0" fill="hold" grpId="0" nodeType="clickEffect">
                                  <p:stCondLst>
                                    <p:cond delay="0"/>
                                  </p:stCondLst>
                                  <p:childTnLst>
                                    <p:set>
                                      <p:cBhvr>
                                        <p:cTn id="28" dur="1" fill="hold">
                                          <p:stCondLst>
                                            <p:cond delay="0"/>
                                          </p:stCondLst>
                                        </p:cTn>
                                        <p:tgtEl>
                                          <p:spTgt spid="29"/>
                                        </p:tgtEl>
                                        <p:attrNameLst>
                                          <p:attrName>style.visibility</p:attrName>
                                        </p:attrNameLst>
                                      </p:cBhvr>
                                      <p:to>
                                        <p:strVal val="visible"/>
                                      </p:to>
                                    </p:set>
                                    <p:animEffect transition="in" filter="fade">
                                      <p:cBhvr>
                                        <p:cTn id="29" dur="1000"/>
                                        <p:tgtEl>
                                          <p:spTgt spid="29"/>
                                        </p:tgtEl>
                                      </p:cBhvr>
                                    </p:animEffect>
                                    <p:anim calcmode="lin" valueType="num">
                                      <p:cBhvr>
                                        <p:cTn id="30" dur="1000" fill="hold"/>
                                        <p:tgtEl>
                                          <p:spTgt spid="29"/>
                                        </p:tgtEl>
                                        <p:attrNameLst>
                                          <p:attrName>ppt_x</p:attrName>
                                        </p:attrNameLst>
                                      </p:cBhvr>
                                      <p:tavLst>
                                        <p:tav tm="0">
                                          <p:val>
                                            <p:strVal val="#ppt_x"/>
                                          </p:val>
                                        </p:tav>
                                        <p:tav tm="100000">
                                          <p:val>
                                            <p:strVal val="#ppt_x"/>
                                          </p:val>
                                        </p:tav>
                                      </p:tavLst>
                                    </p:anim>
                                    <p:anim calcmode="lin" valueType="num">
                                      <p:cBhvr>
                                        <p:cTn id="31" dur="1000" fill="hold"/>
                                        <p:tgtEl>
                                          <p:spTgt spid="29"/>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34"/>
                                        </p:tgtEl>
                                        <p:attrNameLst>
                                          <p:attrName>style.visibility</p:attrName>
                                        </p:attrNameLst>
                                      </p:cBhvr>
                                      <p:to>
                                        <p:strVal val="visible"/>
                                      </p:to>
                                    </p:set>
                                    <p:animEffect transition="in" filter="fade">
                                      <p:cBhvr>
                                        <p:cTn id="34" dur="1000"/>
                                        <p:tgtEl>
                                          <p:spTgt spid="34"/>
                                        </p:tgtEl>
                                      </p:cBhvr>
                                    </p:animEffect>
                                    <p:anim calcmode="lin" valueType="num">
                                      <p:cBhvr>
                                        <p:cTn id="35" dur="1000" fill="hold"/>
                                        <p:tgtEl>
                                          <p:spTgt spid="34"/>
                                        </p:tgtEl>
                                        <p:attrNameLst>
                                          <p:attrName>ppt_x</p:attrName>
                                        </p:attrNameLst>
                                      </p:cBhvr>
                                      <p:tavLst>
                                        <p:tav tm="0">
                                          <p:val>
                                            <p:strVal val="#ppt_x"/>
                                          </p:val>
                                        </p:tav>
                                        <p:tav tm="100000">
                                          <p:val>
                                            <p:strVal val="#ppt_x"/>
                                          </p:val>
                                        </p:tav>
                                      </p:tavLst>
                                    </p:anim>
                                    <p:anim calcmode="lin" valueType="num">
                                      <p:cBhvr>
                                        <p:cTn id="36" dur="1000" fill="hold"/>
                                        <p:tgtEl>
                                          <p:spTgt spid="34"/>
                                        </p:tgtEl>
                                        <p:attrNameLst>
                                          <p:attrName>ppt_y</p:attrName>
                                        </p:attrNameLst>
                                      </p:cBhvr>
                                      <p:tavLst>
                                        <p:tav tm="0">
                                          <p:val>
                                            <p:strVal val="#ppt_y+.1"/>
                                          </p:val>
                                        </p:tav>
                                        <p:tav tm="100000">
                                          <p:val>
                                            <p:strVal val="#ppt_y"/>
                                          </p:val>
                                        </p:tav>
                                      </p:tavLst>
                                    </p:anim>
                                  </p:childTnLst>
                                </p:cTn>
                              </p:par>
                              <p:par>
                                <p:cTn id="37" presetID="42" presetClass="entr" presetSubtype="0" fill="hold" nodeType="withEffect">
                                  <p:stCondLst>
                                    <p:cond delay="0"/>
                                  </p:stCondLst>
                                  <p:childTnLst>
                                    <p:set>
                                      <p:cBhvr>
                                        <p:cTn id="38" dur="1" fill="hold">
                                          <p:stCondLst>
                                            <p:cond delay="0"/>
                                          </p:stCondLst>
                                        </p:cTn>
                                        <p:tgtEl>
                                          <p:spTgt spid="32"/>
                                        </p:tgtEl>
                                        <p:attrNameLst>
                                          <p:attrName>style.visibility</p:attrName>
                                        </p:attrNameLst>
                                      </p:cBhvr>
                                      <p:to>
                                        <p:strVal val="visible"/>
                                      </p:to>
                                    </p:set>
                                    <p:animEffect transition="in" filter="fade">
                                      <p:cBhvr>
                                        <p:cTn id="39" dur="1000"/>
                                        <p:tgtEl>
                                          <p:spTgt spid="32"/>
                                        </p:tgtEl>
                                      </p:cBhvr>
                                    </p:animEffect>
                                    <p:anim calcmode="lin" valueType="num">
                                      <p:cBhvr>
                                        <p:cTn id="40" dur="1000" fill="hold"/>
                                        <p:tgtEl>
                                          <p:spTgt spid="32"/>
                                        </p:tgtEl>
                                        <p:attrNameLst>
                                          <p:attrName>ppt_x</p:attrName>
                                        </p:attrNameLst>
                                      </p:cBhvr>
                                      <p:tavLst>
                                        <p:tav tm="0">
                                          <p:val>
                                            <p:strVal val="#ppt_x"/>
                                          </p:val>
                                        </p:tav>
                                        <p:tav tm="100000">
                                          <p:val>
                                            <p:strVal val="#ppt_x"/>
                                          </p:val>
                                        </p:tav>
                                      </p:tavLst>
                                    </p:anim>
                                    <p:anim calcmode="lin" valueType="num">
                                      <p:cBhvr>
                                        <p:cTn id="41" dur="1000" fill="hold"/>
                                        <p:tgtEl>
                                          <p:spTgt spid="32"/>
                                        </p:tgtEl>
                                        <p:attrNameLst>
                                          <p:attrName>ppt_y</p:attrName>
                                        </p:attrNameLst>
                                      </p:cBhvr>
                                      <p:tavLst>
                                        <p:tav tm="0">
                                          <p:val>
                                            <p:strVal val="#ppt_y+.1"/>
                                          </p:val>
                                        </p:tav>
                                        <p:tav tm="100000">
                                          <p:val>
                                            <p:strVal val="#ppt_y"/>
                                          </p:val>
                                        </p:tav>
                                      </p:tavLst>
                                    </p:anim>
                                  </p:childTnLst>
                                </p:cTn>
                              </p:par>
                              <p:par>
                                <p:cTn id="42" presetID="42" presetClass="entr" presetSubtype="0" fill="hold" grpId="0" nodeType="withEffect">
                                  <p:stCondLst>
                                    <p:cond delay="0"/>
                                  </p:stCondLst>
                                  <p:childTnLst>
                                    <p:set>
                                      <p:cBhvr>
                                        <p:cTn id="43" dur="1" fill="hold">
                                          <p:stCondLst>
                                            <p:cond delay="0"/>
                                          </p:stCondLst>
                                        </p:cTn>
                                        <p:tgtEl>
                                          <p:spTgt spid="28"/>
                                        </p:tgtEl>
                                        <p:attrNameLst>
                                          <p:attrName>style.visibility</p:attrName>
                                        </p:attrNameLst>
                                      </p:cBhvr>
                                      <p:to>
                                        <p:strVal val="visible"/>
                                      </p:to>
                                    </p:set>
                                    <p:animEffect transition="in" filter="fade">
                                      <p:cBhvr>
                                        <p:cTn id="44" dur="1000"/>
                                        <p:tgtEl>
                                          <p:spTgt spid="28"/>
                                        </p:tgtEl>
                                      </p:cBhvr>
                                    </p:animEffect>
                                    <p:anim calcmode="lin" valueType="num">
                                      <p:cBhvr>
                                        <p:cTn id="45" dur="1000" fill="hold"/>
                                        <p:tgtEl>
                                          <p:spTgt spid="28"/>
                                        </p:tgtEl>
                                        <p:attrNameLst>
                                          <p:attrName>ppt_x</p:attrName>
                                        </p:attrNameLst>
                                      </p:cBhvr>
                                      <p:tavLst>
                                        <p:tav tm="0">
                                          <p:val>
                                            <p:strVal val="#ppt_x"/>
                                          </p:val>
                                        </p:tav>
                                        <p:tav tm="100000">
                                          <p:val>
                                            <p:strVal val="#ppt_x"/>
                                          </p:val>
                                        </p:tav>
                                      </p:tavLst>
                                    </p:anim>
                                    <p:anim calcmode="lin" valueType="num">
                                      <p:cBhvr>
                                        <p:cTn id="46" dur="1000" fill="hold"/>
                                        <p:tgtEl>
                                          <p:spTgt spid="28"/>
                                        </p:tgtEl>
                                        <p:attrNameLst>
                                          <p:attrName>ppt_y</p:attrName>
                                        </p:attrNameLst>
                                      </p:cBhvr>
                                      <p:tavLst>
                                        <p:tav tm="0">
                                          <p:val>
                                            <p:strVal val="#ppt_y+.1"/>
                                          </p:val>
                                        </p:tav>
                                        <p:tav tm="100000">
                                          <p:val>
                                            <p:strVal val="#ppt_y"/>
                                          </p:val>
                                        </p:tav>
                                      </p:tavLst>
                                    </p:anim>
                                  </p:childTnLst>
                                </p:cTn>
                              </p:par>
                              <p:par>
                                <p:cTn id="47" presetID="53" presetClass="entr" presetSubtype="16" fill="hold" nodeType="withEffect">
                                  <p:stCondLst>
                                    <p:cond delay="0"/>
                                  </p:stCondLst>
                                  <p:childTnLst>
                                    <p:set>
                                      <p:cBhvr>
                                        <p:cTn id="48" dur="1" fill="hold">
                                          <p:stCondLst>
                                            <p:cond delay="0"/>
                                          </p:stCondLst>
                                        </p:cTn>
                                        <p:tgtEl>
                                          <p:spTgt spid="43"/>
                                        </p:tgtEl>
                                        <p:attrNameLst>
                                          <p:attrName>style.visibility</p:attrName>
                                        </p:attrNameLst>
                                      </p:cBhvr>
                                      <p:to>
                                        <p:strVal val="visible"/>
                                      </p:to>
                                    </p:set>
                                    <p:anim calcmode="lin" valueType="num">
                                      <p:cBhvr>
                                        <p:cTn id="49" dur="500" fill="hold"/>
                                        <p:tgtEl>
                                          <p:spTgt spid="43"/>
                                        </p:tgtEl>
                                        <p:attrNameLst>
                                          <p:attrName>ppt_w</p:attrName>
                                        </p:attrNameLst>
                                      </p:cBhvr>
                                      <p:tavLst>
                                        <p:tav tm="0">
                                          <p:val>
                                            <p:fltVal val="0"/>
                                          </p:val>
                                        </p:tav>
                                        <p:tav tm="100000">
                                          <p:val>
                                            <p:strVal val="#ppt_w"/>
                                          </p:val>
                                        </p:tav>
                                      </p:tavLst>
                                    </p:anim>
                                    <p:anim calcmode="lin" valueType="num">
                                      <p:cBhvr>
                                        <p:cTn id="50" dur="500" fill="hold"/>
                                        <p:tgtEl>
                                          <p:spTgt spid="43"/>
                                        </p:tgtEl>
                                        <p:attrNameLst>
                                          <p:attrName>ppt_h</p:attrName>
                                        </p:attrNameLst>
                                      </p:cBhvr>
                                      <p:tavLst>
                                        <p:tav tm="0">
                                          <p:val>
                                            <p:fltVal val="0"/>
                                          </p:val>
                                        </p:tav>
                                        <p:tav tm="100000">
                                          <p:val>
                                            <p:strVal val="#ppt_h"/>
                                          </p:val>
                                        </p:tav>
                                      </p:tavLst>
                                    </p:anim>
                                    <p:animEffect transition="in" filter="fade">
                                      <p:cBhvr>
                                        <p:cTn id="51"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22" grpId="0" animBg="1"/>
      <p:bldP spid="29" grpId="0"/>
      <p:bldP spid="28"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865388" y="308973"/>
            <a:ext cx="9771851" cy="86591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i="1" u="sng">
                <a:solidFill>
                  <a:schemeClr val="accent1">
                    <a:lumMod val="50000"/>
                  </a:schemeClr>
                </a:solidFill>
                <a:latin typeface="Calibri Light" panose="020F0302020204030204" pitchFamily="34" charset="0"/>
              </a:rPr>
              <a:t>Environmental Clustering Web App Result</a:t>
            </a:r>
            <a:endParaRPr lang="en-US" sz="4000" b="1" i="1" u="sng">
              <a:solidFill>
                <a:schemeClr val="accent1">
                  <a:lumMod val="50000"/>
                </a:schemeClr>
              </a:solidFill>
            </a:endParaRPr>
          </a:p>
        </p:txBody>
      </p:sp>
      <p:sp>
        <p:nvSpPr>
          <p:cNvPr id="2" name="Slide Number Placeholder 1">
            <a:extLst>
              <a:ext uri="{FF2B5EF4-FFF2-40B4-BE49-F238E27FC236}">
                <a16:creationId xmlns:a16="http://schemas.microsoft.com/office/drawing/2014/main" id="{3DAF1FF6-83BD-CD3F-ACA9-3847A49D49C3}"/>
              </a:ext>
            </a:extLst>
          </p:cNvPr>
          <p:cNvSpPr>
            <a:spLocks noGrp="1"/>
          </p:cNvSpPr>
          <p:nvPr>
            <p:ph type="sldNum" sz="quarter" idx="12"/>
          </p:nvPr>
        </p:nvSpPr>
        <p:spPr/>
        <p:txBody>
          <a:bodyPr/>
          <a:lstStyle/>
          <a:p>
            <a:fld id="{EEAD9179-7A6B-4268-BEB2-F3B8EB06115B}" type="slidenum">
              <a:rPr lang="en-US" noProof="0" smtClean="0"/>
              <a:t>31</a:t>
            </a:fld>
            <a:endParaRPr lang="en-US" noProof="0"/>
          </a:p>
        </p:txBody>
      </p:sp>
      <p:sp>
        <p:nvSpPr>
          <p:cNvPr id="3" name="TextBox 2">
            <a:extLst>
              <a:ext uri="{FF2B5EF4-FFF2-40B4-BE49-F238E27FC236}">
                <a16:creationId xmlns:a16="http://schemas.microsoft.com/office/drawing/2014/main" id="{A9B6433A-3584-BD51-F3B5-89DCB9E2F96D}"/>
              </a:ext>
            </a:extLst>
          </p:cNvPr>
          <p:cNvSpPr txBox="1"/>
          <p:nvPr/>
        </p:nvSpPr>
        <p:spPr>
          <a:xfrm>
            <a:off x="865388" y="1099147"/>
            <a:ext cx="10324730" cy="707886"/>
          </a:xfrm>
          <a:prstGeom prst="rect">
            <a:avLst/>
          </a:prstGeom>
          <a:noFill/>
        </p:spPr>
        <p:txBody>
          <a:bodyPr wrap="square" rtlCol="0">
            <a:spAutoFit/>
          </a:bodyPr>
          <a:lstStyle/>
          <a:p>
            <a:r>
              <a:rPr lang="en-US" sz="2000" b="1">
                <a:latin typeface="+mj-lt"/>
              </a:rPr>
              <a:t>Case study for California central valley, Processing Tomato whole season (field location as black dots) </a:t>
            </a:r>
          </a:p>
        </p:txBody>
      </p:sp>
      <p:pic>
        <p:nvPicPr>
          <p:cNvPr id="1026" name="Picture 2">
            <a:extLst>
              <a:ext uri="{FF2B5EF4-FFF2-40B4-BE49-F238E27FC236}">
                <a16:creationId xmlns:a16="http://schemas.microsoft.com/office/drawing/2014/main" id="{EFAF2E77-8CEC-C19A-2F55-F19157E9D27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4757" y="1694064"/>
            <a:ext cx="3906771" cy="414165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FA4DE5DB-293A-BB1F-C2A6-80419B433D0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48870" y="1694063"/>
            <a:ext cx="3941287" cy="4141657"/>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54743D17-A5AC-78AC-4269-DC8CCBE26C14}"/>
              </a:ext>
            </a:extLst>
          </p:cNvPr>
          <p:cNvSpPr txBox="1"/>
          <p:nvPr/>
        </p:nvSpPr>
        <p:spPr>
          <a:xfrm>
            <a:off x="1061535" y="6030528"/>
            <a:ext cx="3493214" cy="369332"/>
          </a:xfrm>
          <a:prstGeom prst="rect">
            <a:avLst/>
          </a:prstGeom>
          <a:noFill/>
        </p:spPr>
        <p:txBody>
          <a:bodyPr wrap="square" rtlCol="0">
            <a:spAutoFit/>
          </a:bodyPr>
          <a:lstStyle/>
          <a:p>
            <a:r>
              <a:rPr lang="en-US"/>
              <a:t>Clustering Result from PROD App</a:t>
            </a:r>
          </a:p>
        </p:txBody>
      </p:sp>
      <p:sp>
        <p:nvSpPr>
          <p:cNvPr id="6" name="TextBox 5">
            <a:extLst>
              <a:ext uri="{FF2B5EF4-FFF2-40B4-BE49-F238E27FC236}">
                <a16:creationId xmlns:a16="http://schemas.microsoft.com/office/drawing/2014/main" id="{26A6E82C-D720-1EE2-53BC-CEC07024E9CA}"/>
              </a:ext>
            </a:extLst>
          </p:cNvPr>
          <p:cNvSpPr txBox="1"/>
          <p:nvPr/>
        </p:nvSpPr>
        <p:spPr>
          <a:xfrm>
            <a:off x="5130364" y="5902696"/>
            <a:ext cx="3493214" cy="646331"/>
          </a:xfrm>
          <a:prstGeom prst="rect">
            <a:avLst/>
          </a:prstGeom>
          <a:noFill/>
        </p:spPr>
        <p:txBody>
          <a:bodyPr wrap="square" rtlCol="0">
            <a:spAutoFit/>
          </a:bodyPr>
          <a:lstStyle/>
          <a:p>
            <a:pPr algn="ctr"/>
            <a:r>
              <a:rPr lang="en-US"/>
              <a:t>Clustering Result from App with High-resolution ARD</a:t>
            </a:r>
          </a:p>
        </p:txBody>
      </p:sp>
      <p:sp>
        <p:nvSpPr>
          <p:cNvPr id="7" name="TextBox 6">
            <a:extLst>
              <a:ext uri="{FF2B5EF4-FFF2-40B4-BE49-F238E27FC236}">
                <a16:creationId xmlns:a16="http://schemas.microsoft.com/office/drawing/2014/main" id="{75F947B2-123B-E347-59AC-F0AB539999A7}"/>
              </a:ext>
            </a:extLst>
          </p:cNvPr>
          <p:cNvSpPr txBox="1"/>
          <p:nvPr/>
        </p:nvSpPr>
        <p:spPr>
          <a:xfrm>
            <a:off x="9224510" y="1694063"/>
            <a:ext cx="2825458" cy="3373359"/>
          </a:xfrm>
          <a:prstGeom prst="rect">
            <a:avLst/>
          </a:prstGeom>
          <a:noFill/>
        </p:spPr>
        <p:txBody>
          <a:bodyPr wrap="square" rtlCol="0">
            <a:spAutoFit/>
          </a:bodyPr>
          <a:lstStyle/>
          <a:p>
            <a:pPr marL="285750" indent="-285750">
              <a:lnSpc>
                <a:spcPct val="150000"/>
              </a:lnSpc>
              <a:buFont typeface="Wingdings" panose="05000000000000000000" pitchFamily="2" charset="2"/>
              <a:buChar char="§"/>
            </a:pPr>
            <a:r>
              <a:rPr lang="en-US">
                <a:latin typeface="-apple-system"/>
              </a:rPr>
              <a:t>Using new 4km ARD clearly improves t</a:t>
            </a:r>
            <a:r>
              <a:rPr lang="en-US" i="0">
                <a:effectLst/>
                <a:latin typeface="-apple-system"/>
              </a:rPr>
              <a:t>he clustering resolution</a:t>
            </a:r>
          </a:p>
          <a:p>
            <a:pPr marL="285750" indent="-285750">
              <a:lnSpc>
                <a:spcPct val="150000"/>
              </a:lnSpc>
              <a:buFont typeface="Wingdings" panose="05000000000000000000" pitchFamily="2" charset="2"/>
              <a:buChar char="§"/>
            </a:pPr>
            <a:r>
              <a:rPr lang="en-US">
                <a:latin typeface="-apple-system"/>
              </a:rPr>
              <a:t>Clustering extent has also changed, with better understanding of the field’s environmental types</a:t>
            </a:r>
            <a:r>
              <a:rPr lang="en-US" i="0">
                <a:effectLst/>
                <a:latin typeface="-apple-system"/>
              </a:rPr>
              <a:t>.</a:t>
            </a:r>
          </a:p>
        </p:txBody>
      </p:sp>
    </p:spTree>
    <p:extLst>
      <p:ext uri="{BB962C8B-B14F-4D97-AF65-F5344CB8AC3E}">
        <p14:creationId xmlns:p14="http://schemas.microsoft.com/office/powerpoint/2010/main" val="399996976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844840" y="8125"/>
            <a:ext cx="9771851" cy="86591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i="1" u="sng">
                <a:solidFill>
                  <a:schemeClr val="accent1">
                    <a:lumMod val="50000"/>
                  </a:schemeClr>
                </a:solidFill>
                <a:latin typeface="Calibri Light" panose="020F0302020204030204" pitchFamily="34" charset="0"/>
              </a:rPr>
              <a:t>5. Summary</a:t>
            </a:r>
            <a:endParaRPr lang="en-US" sz="4000" b="1" i="1" u="sng">
              <a:solidFill>
                <a:schemeClr val="accent1">
                  <a:lumMod val="50000"/>
                </a:schemeClr>
              </a:solidFill>
            </a:endParaRPr>
          </a:p>
        </p:txBody>
      </p:sp>
      <p:sp>
        <p:nvSpPr>
          <p:cNvPr id="2" name="TextBox 1">
            <a:extLst>
              <a:ext uri="{FF2B5EF4-FFF2-40B4-BE49-F238E27FC236}">
                <a16:creationId xmlns:a16="http://schemas.microsoft.com/office/drawing/2014/main" id="{90C96AA1-6C12-6623-0754-4E4DD20BEE5B}"/>
              </a:ext>
            </a:extLst>
          </p:cNvPr>
          <p:cNvSpPr txBox="1"/>
          <p:nvPr/>
        </p:nvSpPr>
        <p:spPr>
          <a:xfrm>
            <a:off x="309059" y="692647"/>
            <a:ext cx="11308510" cy="5938036"/>
          </a:xfrm>
          <a:prstGeom prst="rect">
            <a:avLst/>
          </a:prstGeom>
          <a:noFill/>
        </p:spPr>
        <p:txBody>
          <a:bodyPr wrap="square" rtlCol="0">
            <a:spAutoFit/>
          </a:bodyPr>
          <a:lstStyle/>
          <a:p>
            <a:pPr marL="800100" lvl="1" indent="-342900">
              <a:lnSpc>
                <a:spcPct val="150000"/>
              </a:lnSpc>
              <a:buFont typeface="+mj-lt"/>
              <a:buAutoNum type="arabicPeriod"/>
            </a:pPr>
            <a:r>
              <a:rPr lang="en-US" sz="1700" dirty="0"/>
              <a:t>This work aims to develop a </a:t>
            </a:r>
            <a:r>
              <a:rPr lang="en-US" sz="1700" u="sng" dirty="0"/>
              <a:t>framework to produce Analysis-Ready Data (ARD) with high spatial resolution-long term weather</a:t>
            </a:r>
            <a:r>
              <a:rPr lang="en-US" sz="1700" dirty="0"/>
              <a:t> data that improves the performance of the Env. Clustering Web App.</a:t>
            </a:r>
          </a:p>
          <a:p>
            <a:pPr marL="800100" lvl="1" indent="-342900">
              <a:lnSpc>
                <a:spcPct val="150000"/>
              </a:lnSpc>
              <a:buFont typeface="+mj-lt"/>
              <a:buAutoNum type="arabicPeriod"/>
            </a:pPr>
            <a:r>
              <a:rPr lang="en-US" sz="1700" dirty="0"/>
              <a:t>The framework incorporates weather, soil, and elevation datasets at different resolutions using Machine Learning (ML)/Deep Learning (DL) models and spatial interpolation.</a:t>
            </a:r>
          </a:p>
          <a:p>
            <a:pPr marL="800100" lvl="1" indent="-342900">
              <a:lnSpc>
                <a:spcPct val="150000"/>
              </a:lnSpc>
              <a:buFont typeface="+mj-lt"/>
              <a:buAutoNum type="arabicPeriod"/>
            </a:pPr>
            <a:r>
              <a:rPr lang="en-US" sz="1700" dirty="0"/>
              <a:t>To improve the spatial resolution of ERA5 weather data, ML model (GOSS) was applied on five weather variables and DL model (MLP) on total precipitation, </a:t>
            </a:r>
            <a:r>
              <a:rPr lang="en-US" sz="1700" u="sng" dirty="0"/>
              <a:t>using ERA5 and elevation data as input and TWC as target</a:t>
            </a:r>
            <a:r>
              <a:rPr lang="en-US" sz="1700" dirty="0"/>
              <a:t>.</a:t>
            </a:r>
          </a:p>
          <a:p>
            <a:pPr marL="800100" lvl="1" indent="-342900">
              <a:lnSpc>
                <a:spcPct val="150000"/>
              </a:lnSpc>
              <a:buFont typeface="+mj-lt"/>
              <a:buAutoNum type="arabicPeriod"/>
            </a:pPr>
            <a:r>
              <a:rPr lang="en-US" sz="1700" dirty="0"/>
              <a:t>Results showed overall </a:t>
            </a:r>
            <a:r>
              <a:rPr lang="en-US" sz="1700" u="sng" dirty="0"/>
              <a:t>improved R</a:t>
            </a:r>
            <a:r>
              <a:rPr lang="en-US" sz="1700" u="sng" baseline="30000" dirty="0"/>
              <a:t>2</a:t>
            </a:r>
            <a:r>
              <a:rPr lang="en-US" sz="1700" u="sng" dirty="0"/>
              <a:t> on ERA5 vs TWC weather variables after application of ML models </a:t>
            </a:r>
            <a:r>
              <a:rPr lang="en-US" sz="1700" dirty="0"/>
              <a:t>for both training and testing sets, except for the overfitting total precipitation ML/DL model. A few future steps are recommended to improve the performance of total precipitation model.</a:t>
            </a:r>
          </a:p>
          <a:p>
            <a:pPr marL="800100" lvl="1" indent="-342900">
              <a:lnSpc>
                <a:spcPct val="150000"/>
              </a:lnSpc>
              <a:buFont typeface="+mj-lt"/>
              <a:buAutoNum type="arabicPeriod"/>
            </a:pPr>
            <a:r>
              <a:rPr lang="en-US" sz="1700" dirty="0"/>
              <a:t>The framework was applied on two case studies to compile 4km ARD and 100m ARD for California Central valley and Woodland respectively</a:t>
            </a:r>
            <a:r>
              <a:rPr lang="en-US" sz="1700" u="sng" dirty="0"/>
              <a:t>. Environmental Clustering result using the 4km ARD showed clear improvement in resolution and helped to better understand field environmental types</a:t>
            </a:r>
            <a:r>
              <a:rPr lang="en-US" sz="1700" dirty="0"/>
              <a:t>.</a:t>
            </a:r>
          </a:p>
          <a:p>
            <a:pPr marL="800100" lvl="1" indent="-342900">
              <a:lnSpc>
                <a:spcPct val="150000"/>
              </a:lnSpc>
              <a:buFont typeface="+mj-lt"/>
              <a:buAutoNum type="arabicPeriod"/>
            </a:pPr>
            <a:r>
              <a:rPr lang="en-US" sz="1700" dirty="0"/>
              <a:t>The </a:t>
            </a:r>
            <a:r>
              <a:rPr lang="en-US" sz="1700" u="sng" dirty="0"/>
              <a:t>developed framework can be scalable</a:t>
            </a:r>
            <a:r>
              <a:rPr lang="en-US" sz="1700" dirty="0"/>
              <a:t> to many other environmental variables, resolutions, and regions, that has great potential to boost the performance of various models, including environmental models and crop models in our organization.</a:t>
            </a:r>
          </a:p>
        </p:txBody>
      </p:sp>
      <p:sp>
        <p:nvSpPr>
          <p:cNvPr id="3" name="Slide Number Placeholder 2">
            <a:extLst>
              <a:ext uri="{FF2B5EF4-FFF2-40B4-BE49-F238E27FC236}">
                <a16:creationId xmlns:a16="http://schemas.microsoft.com/office/drawing/2014/main" id="{7B6B92E1-2AB9-FE4E-E2F4-AE076BC2F1C6}"/>
              </a:ext>
            </a:extLst>
          </p:cNvPr>
          <p:cNvSpPr>
            <a:spLocks noGrp="1"/>
          </p:cNvSpPr>
          <p:nvPr>
            <p:ph type="sldNum" sz="quarter" idx="12"/>
          </p:nvPr>
        </p:nvSpPr>
        <p:spPr/>
        <p:txBody>
          <a:bodyPr/>
          <a:lstStyle/>
          <a:p>
            <a:fld id="{EEAD9179-7A6B-4268-BEB2-F3B8EB06115B}" type="slidenum">
              <a:rPr lang="en-US" noProof="0" smtClean="0"/>
              <a:t>32</a:t>
            </a:fld>
            <a:endParaRPr lang="en-US" noProof="0" dirty="0"/>
          </a:p>
        </p:txBody>
      </p:sp>
    </p:spTree>
    <p:extLst>
      <p:ext uri="{BB962C8B-B14F-4D97-AF65-F5344CB8AC3E}">
        <p14:creationId xmlns:p14="http://schemas.microsoft.com/office/powerpoint/2010/main" val="198341211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1003883" y="348479"/>
            <a:ext cx="9144000" cy="7316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i="1" u="sng">
                <a:solidFill>
                  <a:schemeClr val="accent1">
                    <a:lumMod val="50000"/>
                  </a:schemeClr>
                </a:solidFill>
                <a:latin typeface="Calibri Light" panose="020F0302020204030204" pitchFamily="34" charset="0"/>
              </a:rPr>
              <a:t>Acknowledgement</a:t>
            </a:r>
            <a:endParaRPr lang="en-US" sz="4000" i="1" u="sng">
              <a:solidFill>
                <a:schemeClr val="accent1">
                  <a:lumMod val="50000"/>
                </a:schemeClr>
              </a:solidFill>
            </a:endParaRPr>
          </a:p>
        </p:txBody>
      </p:sp>
      <p:sp>
        <p:nvSpPr>
          <p:cNvPr id="7" name="TextBox 6">
            <a:extLst>
              <a:ext uri="{FF2B5EF4-FFF2-40B4-BE49-F238E27FC236}">
                <a16:creationId xmlns:a16="http://schemas.microsoft.com/office/drawing/2014/main" id="{CD5ED03A-3B9D-9120-10C9-16CF3D860C61}"/>
              </a:ext>
            </a:extLst>
          </p:cNvPr>
          <p:cNvSpPr txBox="1"/>
          <p:nvPr/>
        </p:nvSpPr>
        <p:spPr>
          <a:xfrm>
            <a:off x="1075802" y="1080083"/>
            <a:ext cx="4334398" cy="4753609"/>
          </a:xfrm>
          <a:prstGeom prst="rect">
            <a:avLst/>
          </a:prstGeom>
          <a:noFill/>
        </p:spPr>
        <p:txBody>
          <a:bodyPr wrap="square" rtlCol="0">
            <a:spAutoFit/>
          </a:bodyPr>
          <a:lstStyle/>
          <a:p>
            <a:pPr marL="285750" indent="-285750">
              <a:lnSpc>
                <a:spcPct val="150000"/>
              </a:lnSpc>
              <a:buFont typeface="Wingdings" panose="05000000000000000000" pitchFamily="2" charset="2"/>
              <a:buChar char="§"/>
            </a:pPr>
            <a:r>
              <a:rPr lang="en-US" sz="2400" b="1" dirty="0"/>
              <a:t>Veg R&amp;D</a:t>
            </a:r>
          </a:p>
          <a:p>
            <a:pPr marL="742950" lvl="1" indent="-285750">
              <a:lnSpc>
                <a:spcPct val="150000"/>
              </a:lnSpc>
              <a:buFont typeface="Courier New" panose="02070309020205020404" pitchFamily="49" charset="0"/>
              <a:buChar char="o"/>
            </a:pPr>
            <a:r>
              <a:rPr lang="en-US" sz="2000" i="0" dirty="0">
                <a:effectLst/>
              </a:rPr>
              <a:t>Martin Mendez-</a:t>
            </a:r>
            <a:r>
              <a:rPr lang="en-US" sz="2000" i="0" dirty="0" err="1">
                <a:effectLst/>
              </a:rPr>
              <a:t>Costabel</a:t>
            </a:r>
            <a:endParaRPr lang="en-US" sz="2000" dirty="0"/>
          </a:p>
          <a:p>
            <a:pPr marL="742950" lvl="1" indent="-285750">
              <a:lnSpc>
                <a:spcPct val="150000"/>
              </a:lnSpc>
              <a:buFont typeface="Courier New" panose="02070309020205020404" pitchFamily="49" charset="0"/>
              <a:buChar char="o"/>
            </a:pPr>
            <a:r>
              <a:rPr lang="en-US" sz="2000" dirty="0"/>
              <a:t>Nan An</a:t>
            </a:r>
          </a:p>
          <a:p>
            <a:pPr marL="742950" lvl="1" indent="-285750">
              <a:lnSpc>
                <a:spcPct val="150000"/>
              </a:lnSpc>
              <a:buFont typeface="Courier New" panose="02070309020205020404" pitchFamily="49" charset="0"/>
              <a:buChar char="o"/>
            </a:pPr>
            <a:r>
              <a:rPr lang="en-US" sz="2000" dirty="0"/>
              <a:t>Ariel Wang</a:t>
            </a:r>
          </a:p>
          <a:p>
            <a:pPr marL="742950" lvl="1" indent="-285750">
              <a:lnSpc>
                <a:spcPct val="150000"/>
              </a:lnSpc>
              <a:buFont typeface="Courier New" panose="02070309020205020404" pitchFamily="49" charset="0"/>
              <a:buChar char="o"/>
            </a:pPr>
            <a:r>
              <a:rPr lang="en-US" sz="2000" dirty="0"/>
              <a:t>Feng Yu</a:t>
            </a:r>
          </a:p>
          <a:p>
            <a:pPr marL="742950" lvl="1" indent="-285750">
              <a:lnSpc>
                <a:spcPct val="150000"/>
              </a:lnSpc>
              <a:buFont typeface="Courier New" panose="02070309020205020404" pitchFamily="49" charset="0"/>
              <a:buChar char="o"/>
            </a:pPr>
            <a:r>
              <a:rPr lang="en-US" sz="2000" dirty="0"/>
              <a:t>Kyle Cheung</a:t>
            </a:r>
          </a:p>
          <a:p>
            <a:pPr marL="742950" lvl="1" indent="-285750">
              <a:lnSpc>
                <a:spcPct val="150000"/>
              </a:lnSpc>
              <a:buFont typeface="Courier New" panose="02070309020205020404" pitchFamily="49" charset="0"/>
              <a:buChar char="o"/>
            </a:pPr>
            <a:r>
              <a:rPr lang="en-US" sz="2000" dirty="0" err="1"/>
              <a:t>Ignasi</a:t>
            </a:r>
            <a:r>
              <a:rPr lang="en-US" sz="2000" dirty="0"/>
              <a:t> Montero Serra</a:t>
            </a:r>
          </a:p>
          <a:p>
            <a:pPr marL="742950" lvl="1" indent="-285750">
              <a:lnSpc>
                <a:spcPct val="150000"/>
              </a:lnSpc>
              <a:buFont typeface="Courier New" panose="02070309020205020404" pitchFamily="49" charset="0"/>
              <a:buChar char="o"/>
            </a:pPr>
            <a:r>
              <a:rPr lang="en-US" sz="2000" dirty="0"/>
              <a:t>Xing Weng</a:t>
            </a:r>
          </a:p>
          <a:p>
            <a:pPr marL="742950" lvl="1" indent="-285750">
              <a:lnSpc>
                <a:spcPct val="150000"/>
              </a:lnSpc>
              <a:buFont typeface="Courier New" panose="02070309020205020404" pitchFamily="49" charset="0"/>
              <a:buChar char="o"/>
            </a:pPr>
            <a:r>
              <a:rPr lang="en-US" sz="2000" dirty="0"/>
              <a:t>Sean Rogerson</a:t>
            </a:r>
          </a:p>
          <a:p>
            <a:pPr marL="742950" lvl="1" indent="-285750">
              <a:lnSpc>
                <a:spcPct val="150000"/>
              </a:lnSpc>
              <a:buFont typeface="Courier New" panose="02070309020205020404" pitchFamily="49" charset="0"/>
              <a:buChar char="o"/>
            </a:pPr>
            <a:r>
              <a:rPr lang="en-US" sz="2000" b="0" i="0" dirty="0">
                <a:effectLst/>
              </a:rPr>
              <a:t>Elaine Graham</a:t>
            </a:r>
            <a:endParaRPr lang="en-US" sz="2000" dirty="0"/>
          </a:p>
        </p:txBody>
      </p:sp>
      <p:sp>
        <p:nvSpPr>
          <p:cNvPr id="12" name="Slide Number Placeholder 11">
            <a:extLst>
              <a:ext uri="{FF2B5EF4-FFF2-40B4-BE49-F238E27FC236}">
                <a16:creationId xmlns:a16="http://schemas.microsoft.com/office/drawing/2014/main" id="{CA054FAF-ADBE-038A-975C-DE37BB0A3D5F}"/>
              </a:ext>
            </a:extLst>
          </p:cNvPr>
          <p:cNvSpPr>
            <a:spLocks noGrp="1"/>
          </p:cNvSpPr>
          <p:nvPr>
            <p:ph type="sldNum" sz="quarter" idx="12"/>
          </p:nvPr>
        </p:nvSpPr>
        <p:spPr/>
        <p:txBody>
          <a:bodyPr/>
          <a:lstStyle/>
          <a:p>
            <a:fld id="{EEAD9179-7A6B-4268-BEB2-F3B8EB06115B}" type="slidenum">
              <a:rPr lang="en-US" noProof="0" smtClean="0"/>
              <a:t>33</a:t>
            </a:fld>
            <a:endParaRPr lang="en-US" noProof="0"/>
          </a:p>
        </p:txBody>
      </p:sp>
      <p:sp>
        <p:nvSpPr>
          <p:cNvPr id="13" name="TextBox 12">
            <a:extLst>
              <a:ext uri="{FF2B5EF4-FFF2-40B4-BE49-F238E27FC236}">
                <a16:creationId xmlns:a16="http://schemas.microsoft.com/office/drawing/2014/main" id="{24CB8F9A-8CB9-451B-64A8-F41B39D37A3B}"/>
              </a:ext>
            </a:extLst>
          </p:cNvPr>
          <p:cNvSpPr txBox="1"/>
          <p:nvPr/>
        </p:nvSpPr>
        <p:spPr>
          <a:xfrm>
            <a:off x="6467475" y="1309190"/>
            <a:ext cx="4238625" cy="2260619"/>
          </a:xfrm>
          <a:prstGeom prst="rect">
            <a:avLst/>
          </a:prstGeom>
          <a:noFill/>
        </p:spPr>
        <p:txBody>
          <a:bodyPr wrap="square" rtlCol="0">
            <a:spAutoFit/>
          </a:bodyPr>
          <a:lstStyle/>
          <a:p>
            <a:pPr marL="285750" indent="-285750">
              <a:buFont typeface="Wingdings" panose="05000000000000000000" pitchFamily="2" charset="2"/>
              <a:buChar char="§"/>
            </a:pPr>
            <a:r>
              <a:rPr lang="en-US" sz="2400" b="1" dirty="0"/>
              <a:t>Location 360</a:t>
            </a:r>
          </a:p>
          <a:p>
            <a:pPr marL="800100" lvl="1" indent="-342900">
              <a:lnSpc>
                <a:spcPct val="150000"/>
              </a:lnSpc>
              <a:buFont typeface="Courier New" panose="02070309020205020404" pitchFamily="49" charset="0"/>
              <a:buChar char="o"/>
            </a:pPr>
            <a:r>
              <a:rPr lang="en-US" sz="2000" dirty="0"/>
              <a:t>Bobby </a:t>
            </a:r>
            <a:r>
              <a:rPr lang="en-US" sz="2000" dirty="0" err="1"/>
              <a:t>Brauer</a:t>
            </a:r>
            <a:endParaRPr lang="en-US" sz="2000" dirty="0"/>
          </a:p>
          <a:p>
            <a:pPr marL="800100" lvl="1" indent="-342900">
              <a:lnSpc>
                <a:spcPct val="150000"/>
              </a:lnSpc>
              <a:buFont typeface="Courier New" panose="02070309020205020404" pitchFamily="49" charset="0"/>
              <a:buChar char="o"/>
            </a:pPr>
            <a:r>
              <a:rPr lang="en-US" sz="2000" dirty="0"/>
              <a:t>Qing Liu</a:t>
            </a:r>
          </a:p>
          <a:p>
            <a:pPr marL="800100" lvl="1" indent="-342900">
              <a:lnSpc>
                <a:spcPct val="150000"/>
              </a:lnSpc>
              <a:buFont typeface="Courier New" panose="02070309020205020404" pitchFamily="49" charset="0"/>
              <a:buChar char="o"/>
            </a:pPr>
            <a:r>
              <a:rPr lang="en-US" sz="2000" dirty="0"/>
              <a:t>Ugochukwu </a:t>
            </a:r>
            <a:r>
              <a:rPr lang="en-US" sz="2000" dirty="0" err="1"/>
              <a:t>Umeokafor</a:t>
            </a:r>
            <a:endParaRPr lang="en-US" sz="2000" dirty="0"/>
          </a:p>
          <a:p>
            <a:pPr marL="800100" lvl="1" indent="-342900">
              <a:lnSpc>
                <a:spcPct val="150000"/>
              </a:lnSpc>
              <a:buFont typeface="Courier New" panose="02070309020205020404" pitchFamily="49" charset="0"/>
              <a:buChar char="o"/>
            </a:pPr>
            <a:r>
              <a:rPr lang="en-US" sz="2000" dirty="0"/>
              <a:t>Paul </a:t>
            </a:r>
            <a:r>
              <a:rPr lang="en-US" sz="2000" dirty="0" err="1"/>
              <a:t>Trudt</a:t>
            </a:r>
            <a:endParaRPr lang="en-US" sz="2000" dirty="0"/>
          </a:p>
        </p:txBody>
      </p:sp>
    </p:spTree>
    <p:extLst>
      <p:ext uri="{BB962C8B-B14F-4D97-AF65-F5344CB8AC3E}">
        <p14:creationId xmlns:p14="http://schemas.microsoft.com/office/powerpoint/2010/main" val="19680082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86BA84-DCD5-9E45-57C1-47E4B920DEDD}"/>
              </a:ext>
            </a:extLst>
          </p:cNvPr>
          <p:cNvSpPr>
            <a:spLocks noGrp="1"/>
          </p:cNvSpPr>
          <p:nvPr>
            <p:ph type="ctrTitle"/>
          </p:nvPr>
        </p:nvSpPr>
        <p:spPr>
          <a:xfrm>
            <a:off x="754272" y="2946633"/>
            <a:ext cx="4832796" cy="964734"/>
          </a:xfrm>
        </p:spPr>
        <p:txBody>
          <a:bodyPr>
            <a:normAutofit/>
          </a:bodyPr>
          <a:lstStyle/>
          <a:p>
            <a:r>
              <a:rPr lang="en-US" i="1">
                <a:solidFill>
                  <a:srgbClr val="10384F"/>
                </a:solidFill>
                <a:effectLst/>
                <a:latin typeface="Century Gothic" panose="020B0502020202020204" pitchFamily="34" charset="0"/>
              </a:rPr>
              <a:t>Questions!</a:t>
            </a:r>
            <a:endParaRPr lang="en-US" i="1">
              <a:solidFill>
                <a:srgbClr val="10384F"/>
              </a:solidFill>
              <a:latin typeface="Century Gothic" panose="020B0502020202020204" pitchFamily="34" charset="0"/>
            </a:endParaRPr>
          </a:p>
        </p:txBody>
      </p:sp>
      <p:pic>
        <p:nvPicPr>
          <p:cNvPr id="4" name="Picture 3" descr="A picture containing circle, graphics, font, symbol&#10;&#10;Description automatically generated">
            <a:extLst>
              <a:ext uri="{FF2B5EF4-FFF2-40B4-BE49-F238E27FC236}">
                <a16:creationId xmlns:a16="http://schemas.microsoft.com/office/drawing/2014/main" id="{89D577D2-D5F0-BCAC-5B1D-9DBE5C9E47F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94515" y="1135304"/>
            <a:ext cx="3956987" cy="3956987"/>
          </a:xfrm>
          <a:prstGeom prst="rect">
            <a:avLst/>
          </a:prstGeom>
        </p:spPr>
      </p:pic>
    </p:spTree>
    <p:extLst>
      <p:ext uri="{BB962C8B-B14F-4D97-AF65-F5344CB8AC3E}">
        <p14:creationId xmlns:p14="http://schemas.microsoft.com/office/powerpoint/2010/main" val="234096637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1524000" y="2697396"/>
            <a:ext cx="9144000" cy="7316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4000" i="1" u="sng">
                <a:solidFill>
                  <a:schemeClr val="accent1">
                    <a:lumMod val="50000"/>
                  </a:schemeClr>
                </a:solidFill>
                <a:latin typeface="Calibri Light" panose="020F0302020204030204" pitchFamily="34" charset="0"/>
              </a:rPr>
              <a:t>Additional Slides</a:t>
            </a:r>
            <a:endParaRPr lang="en-US" sz="4000" i="1" u="sng">
              <a:solidFill>
                <a:schemeClr val="accent1">
                  <a:lumMod val="50000"/>
                </a:schemeClr>
              </a:solidFill>
            </a:endParaRPr>
          </a:p>
        </p:txBody>
      </p:sp>
      <p:sp>
        <p:nvSpPr>
          <p:cNvPr id="2" name="Slide Number Placeholder 1">
            <a:extLst>
              <a:ext uri="{FF2B5EF4-FFF2-40B4-BE49-F238E27FC236}">
                <a16:creationId xmlns:a16="http://schemas.microsoft.com/office/drawing/2014/main" id="{6DC7D8B5-FDA8-2CF0-13A4-9B583F7BAACF}"/>
              </a:ext>
            </a:extLst>
          </p:cNvPr>
          <p:cNvSpPr>
            <a:spLocks noGrp="1"/>
          </p:cNvSpPr>
          <p:nvPr>
            <p:ph type="sldNum" sz="quarter" idx="12"/>
          </p:nvPr>
        </p:nvSpPr>
        <p:spPr/>
        <p:txBody>
          <a:bodyPr/>
          <a:lstStyle/>
          <a:p>
            <a:fld id="{EEAD9179-7A6B-4268-BEB2-F3B8EB06115B}" type="slidenum">
              <a:rPr lang="en-US" noProof="0" smtClean="0"/>
              <a:t>35</a:t>
            </a:fld>
            <a:endParaRPr lang="en-US" noProof="0"/>
          </a:p>
        </p:txBody>
      </p:sp>
    </p:spTree>
    <p:extLst>
      <p:ext uri="{BB962C8B-B14F-4D97-AF65-F5344CB8AC3E}">
        <p14:creationId xmlns:p14="http://schemas.microsoft.com/office/powerpoint/2010/main" val="124589572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865389" y="308974"/>
            <a:ext cx="9144000" cy="7316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i="1" u="sng">
                <a:solidFill>
                  <a:schemeClr val="accent1">
                    <a:lumMod val="50000"/>
                  </a:schemeClr>
                </a:solidFill>
                <a:latin typeface="Calibri Light" panose="020F0302020204030204" pitchFamily="34" charset="0"/>
              </a:rPr>
              <a:t>ML Model Results : </a:t>
            </a:r>
            <a:r>
              <a:rPr lang="en-US" sz="4000" b="1" i="1" u="sng">
                <a:solidFill>
                  <a:schemeClr val="accent1">
                    <a:lumMod val="50000"/>
                  </a:schemeClr>
                </a:solidFill>
                <a:latin typeface="Calibri Light" panose="020F0302020204030204" pitchFamily="34" charset="0"/>
              </a:rPr>
              <a:t>Average Wind Speed </a:t>
            </a:r>
            <a:endParaRPr lang="en-US" sz="4000" b="1" i="1" u="sng">
              <a:solidFill>
                <a:schemeClr val="accent1">
                  <a:lumMod val="50000"/>
                </a:schemeClr>
              </a:solidFill>
            </a:endParaRPr>
          </a:p>
        </p:txBody>
      </p:sp>
      <p:pic>
        <p:nvPicPr>
          <p:cNvPr id="3" name="Picture 2">
            <a:extLst>
              <a:ext uri="{FF2B5EF4-FFF2-40B4-BE49-F238E27FC236}">
                <a16:creationId xmlns:a16="http://schemas.microsoft.com/office/drawing/2014/main" id="{72FDB37B-E1DB-C812-CAB0-7BE1829D147F}"/>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167814" y="2317291"/>
            <a:ext cx="3683149" cy="2805762"/>
          </a:xfrm>
          <a:prstGeom prst="rect">
            <a:avLst/>
          </a:prstGeom>
        </p:spPr>
      </p:pic>
      <p:pic>
        <p:nvPicPr>
          <p:cNvPr id="6" name="Picture 5">
            <a:extLst>
              <a:ext uri="{FF2B5EF4-FFF2-40B4-BE49-F238E27FC236}">
                <a16:creationId xmlns:a16="http://schemas.microsoft.com/office/drawing/2014/main" id="{B09638A6-6111-A6EC-914F-C98B17862DE6}"/>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4246748" y="2352548"/>
            <a:ext cx="3698504" cy="2785582"/>
          </a:xfrm>
          <a:prstGeom prst="rect">
            <a:avLst/>
          </a:prstGeom>
        </p:spPr>
      </p:pic>
      <p:pic>
        <p:nvPicPr>
          <p:cNvPr id="8" name="Picture 7">
            <a:extLst>
              <a:ext uri="{FF2B5EF4-FFF2-40B4-BE49-F238E27FC236}">
                <a16:creationId xmlns:a16="http://schemas.microsoft.com/office/drawing/2014/main" id="{1F7DC9F6-9984-9A8A-6C84-FC2CCC04B586}"/>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107205" y="2319721"/>
            <a:ext cx="3675271" cy="2803332"/>
          </a:xfrm>
          <a:prstGeom prst="rect">
            <a:avLst/>
          </a:prstGeom>
        </p:spPr>
      </p:pic>
      <p:sp>
        <p:nvSpPr>
          <p:cNvPr id="2" name="Slide Number Placeholder 1">
            <a:extLst>
              <a:ext uri="{FF2B5EF4-FFF2-40B4-BE49-F238E27FC236}">
                <a16:creationId xmlns:a16="http://schemas.microsoft.com/office/drawing/2014/main" id="{56C1F752-97FE-CC5B-DA77-DDC0B76B32E3}"/>
              </a:ext>
            </a:extLst>
          </p:cNvPr>
          <p:cNvSpPr>
            <a:spLocks noGrp="1"/>
          </p:cNvSpPr>
          <p:nvPr>
            <p:ph type="sldNum" sz="quarter" idx="12"/>
          </p:nvPr>
        </p:nvSpPr>
        <p:spPr/>
        <p:txBody>
          <a:bodyPr/>
          <a:lstStyle/>
          <a:p>
            <a:fld id="{EEAD9179-7A6B-4268-BEB2-F3B8EB06115B}" type="slidenum">
              <a:rPr lang="en-US" noProof="0" smtClean="0"/>
              <a:t>36</a:t>
            </a:fld>
            <a:endParaRPr lang="en-US" noProof="0"/>
          </a:p>
        </p:txBody>
      </p:sp>
      <p:sp>
        <p:nvSpPr>
          <p:cNvPr id="7" name="TextBox 6">
            <a:extLst>
              <a:ext uri="{FF2B5EF4-FFF2-40B4-BE49-F238E27FC236}">
                <a16:creationId xmlns:a16="http://schemas.microsoft.com/office/drawing/2014/main" id="{39AA71CF-08AD-0070-5A05-46979ADD10E0}"/>
              </a:ext>
            </a:extLst>
          </p:cNvPr>
          <p:cNvSpPr txBox="1"/>
          <p:nvPr/>
        </p:nvSpPr>
        <p:spPr>
          <a:xfrm>
            <a:off x="865388" y="1143321"/>
            <a:ext cx="10191565" cy="646331"/>
          </a:xfrm>
          <a:prstGeom prst="rect">
            <a:avLst/>
          </a:prstGeom>
          <a:noFill/>
        </p:spPr>
        <p:txBody>
          <a:bodyPr wrap="square" rtlCol="0">
            <a:spAutoFit/>
          </a:bodyPr>
          <a:lstStyle/>
          <a:p>
            <a:r>
              <a:rPr lang="en-US"/>
              <a:t>ML model (GOSS) interpolated </a:t>
            </a:r>
            <a:r>
              <a:rPr lang="en-US" b="1" u="sng"/>
              <a:t>Average Wind Speed</a:t>
            </a:r>
            <a:r>
              <a:rPr lang="en-US"/>
              <a:t> has improved R</a:t>
            </a:r>
            <a:r>
              <a:rPr lang="en-US" baseline="30000"/>
              <a:t>2 </a:t>
            </a:r>
            <a:r>
              <a:rPr lang="en-US"/>
              <a:t>correlation with observed data in both train and test set.</a:t>
            </a:r>
            <a:r>
              <a:rPr lang="en-US" baseline="30000"/>
              <a:t> </a:t>
            </a:r>
          </a:p>
        </p:txBody>
      </p:sp>
      <p:sp>
        <p:nvSpPr>
          <p:cNvPr id="4" name="TextBox 3">
            <a:extLst>
              <a:ext uri="{FF2B5EF4-FFF2-40B4-BE49-F238E27FC236}">
                <a16:creationId xmlns:a16="http://schemas.microsoft.com/office/drawing/2014/main" id="{5598E743-B229-632B-3E96-FA0F8780461F}"/>
              </a:ext>
            </a:extLst>
          </p:cNvPr>
          <p:cNvSpPr txBox="1"/>
          <p:nvPr/>
        </p:nvSpPr>
        <p:spPr>
          <a:xfrm>
            <a:off x="703463" y="5288660"/>
            <a:ext cx="2743200" cy="584775"/>
          </a:xfrm>
          <a:prstGeom prst="rect">
            <a:avLst/>
          </a:prstGeom>
          <a:noFill/>
        </p:spPr>
        <p:txBody>
          <a:bodyPr wrap="square" rtlCol="0">
            <a:spAutoFit/>
          </a:bodyPr>
          <a:lstStyle/>
          <a:p>
            <a:pPr algn="ctr"/>
            <a:r>
              <a:rPr lang="en-US" sz="1600" i="1"/>
              <a:t>resampled ERA5 data (4km) vs </a:t>
            </a:r>
          </a:p>
          <a:p>
            <a:pPr algn="ctr"/>
            <a:r>
              <a:rPr lang="en-US" sz="1600" i="1"/>
              <a:t>TWC Data (4km)</a:t>
            </a:r>
            <a:endParaRPr lang="en-US" sz="1600"/>
          </a:p>
        </p:txBody>
      </p:sp>
      <p:sp>
        <p:nvSpPr>
          <p:cNvPr id="5" name="TextBox 4">
            <a:extLst>
              <a:ext uri="{FF2B5EF4-FFF2-40B4-BE49-F238E27FC236}">
                <a16:creationId xmlns:a16="http://schemas.microsoft.com/office/drawing/2014/main" id="{46766ECA-D28D-A5BA-3991-FED81CDD14C7}"/>
              </a:ext>
            </a:extLst>
          </p:cNvPr>
          <p:cNvSpPr txBox="1"/>
          <p:nvPr/>
        </p:nvSpPr>
        <p:spPr>
          <a:xfrm>
            <a:off x="4713071" y="5176070"/>
            <a:ext cx="3209925" cy="1077218"/>
          </a:xfrm>
          <a:prstGeom prst="rect">
            <a:avLst/>
          </a:prstGeom>
          <a:noFill/>
        </p:spPr>
        <p:txBody>
          <a:bodyPr wrap="square" rtlCol="0">
            <a:spAutoFit/>
          </a:bodyPr>
          <a:lstStyle/>
          <a:p>
            <a:pPr algn="ctr"/>
            <a:r>
              <a:rPr lang="en-US" sz="1600" i="1"/>
              <a:t>model interpolated ERA5 data (4km) vs </a:t>
            </a:r>
          </a:p>
          <a:p>
            <a:pPr algn="ctr"/>
            <a:r>
              <a:rPr lang="en-US" sz="1600" i="1"/>
              <a:t>TWC Data (4km)</a:t>
            </a:r>
          </a:p>
          <a:p>
            <a:pPr algn="ctr"/>
            <a:r>
              <a:rPr lang="en-US" sz="1600"/>
              <a:t>(</a:t>
            </a:r>
            <a:r>
              <a:rPr lang="en-US" sz="1600">
                <a:solidFill>
                  <a:srgbClr val="7030A0"/>
                </a:solidFill>
              </a:rPr>
              <a:t>train</a:t>
            </a:r>
            <a:r>
              <a:rPr lang="en-US" sz="1600"/>
              <a:t> set)</a:t>
            </a:r>
          </a:p>
        </p:txBody>
      </p:sp>
      <p:sp>
        <p:nvSpPr>
          <p:cNvPr id="10" name="TextBox 9">
            <a:extLst>
              <a:ext uri="{FF2B5EF4-FFF2-40B4-BE49-F238E27FC236}">
                <a16:creationId xmlns:a16="http://schemas.microsoft.com/office/drawing/2014/main" id="{72CA6DE6-AD04-A276-24A1-06F9C3411A4B}"/>
              </a:ext>
            </a:extLst>
          </p:cNvPr>
          <p:cNvSpPr txBox="1"/>
          <p:nvPr/>
        </p:nvSpPr>
        <p:spPr>
          <a:xfrm>
            <a:off x="8663531" y="5176070"/>
            <a:ext cx="3324225" cy="1077218"/>
          </a:xfrm>
          <a:prstGeom prst="rect">
            <a:avLst/>
          </a:prstGeom>
          <a:noFill/>
        </p:spPr>
        <p:txBody>
          <a:bodyPr wrap="square" rtlCol="0">
            <a:spAutoFit/>
          </a:bodyPr>
          <a:lstStyle/>
          <a:p>
            <a:pPr algn="ctr"/>
            <a:r>
              <a:rPr lang="en-US" sz="1600" i="1"/>
              <a:t>model interpolated ERA5 data (4km) vs </a:t>
            </a:r>
          </a:p>
          <a:p>
            <a:pPr algn="ctr"/>
            <a:r>
              <a:rPr lang="en-US" sz="1600" i="1"/>
              <a:t>TWC Data (4km)</a:t>
            </a:r>
          </a:p>
          <a:p>
            <a:pPr algn="ctr"/>
            <a:r>
              <a:rPr lang="en-US" sz="1600"/>
              <a:t>(</a:t>
            </a:r>
            <a:r>
              <a:rPr lang="en-US" sz="1600">
                <a:solidFill>
                  <a:schemeClr val="accent2">
                    <a:lumMod val="75000"/>
                  </a:schemeClr>
                </a:solidFill>
              </a:rPr>
              <a:t>test</a:t>
            </a:r>
            <a:r>
              <a:rPr lang="en-US" sz="1600"/>
              <a:t> set)</a:t>
            </a:r>
          </a:p>
        </p:txBody>
      </p:sp>
    </p:spTree>
    <p:extLst>
      <p:ext uri="{BB962C8B-B14F-4D97-AF65-F5344CB8AC3E}">
        <p14:creationId xmlns:p14="http://schemas.microsoft.com/office/powerpoint/2010/main" val="10485055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1" presetClass="entr" presetSubtype="0"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0"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768194" y="289742"/>
            <a:ext cx="9144000" cy="7316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i="1" u="sng">
                <a:solidFill>
                  <a:schemeClr val="accent1">
                    <a:lumMod val="50000"/>
                  </a:schemeClr>
                </a:solidFill>
                <a:latin typeface="Calibri Light" panose="020F0302020204030204" pitchFamily="34" charset="0"/>
              </a:rPr>
              <a:t>ML Model Results : </a:t>
            </a:r>
            <a:r>
              <a:rPr lang="en-US" sz="4000" b="1" i="1" u="sng">
                <a:solidFill>
                  <a:schemeClr val="accent1">
                    <a:lumMod val="50000"/>
                  </a:schemeClr>
                </a:solidFill>
                <a:latin typeface="Calibri Light" panose="020F0302020204030204" pitchFamily="34" charset="0"/>
              </a:rPr>
              <a:t>Average Wind Speed</a:t>
            </a:r>
            <a:endParaRPr lang="en-US" sz="4000" b="1" i="1" u="sng">
              <a:solidFill>
                <a:schemeClr val="accent1">
                  <a:lumMod val="50000"/>
                </a:schemeClr>
              </a:solidFill>
            </a:endParaRPr>
          </a:p>
        </p:txBody>
      </p:sp>
      <p:cxnSp>
        <p:nvCxnSpPr>
          <p:cNvPr id="24" name="Straight Connector 23">
            <a:extLst>
              <a:ext uri="{FF2B5EF4-FFF2-40B4-BE49-F238E27FC236}">
                <a16:creationId xmlns:a16="http://schemas.microsoft.com/office/drawing/2014/main" id="{99D01E62-F77D-E62A-0C2D-824A66B5AD7B}"/>
              </a:ext>
            </a:extLst>
          </p:cNvPr>
          <p:cNvCxnSpPr>
            <a:cxnSpLocks/>
          </p:cNvCxnSpPr>
          <p:nvPr/>
        </p:nvCxnSpPr>
        <p:spPr>
          <a:xfrm>
            <a:off x="6096000" y="1686757"/>
            <a:ext cx="0" cy="4983876"/>
          </a:xfrm>
          <a:prstGeom prst="line">
            <a:avLst/>
          </a:prstGeom>
          <a:ln/>
        </p:spPr>
        <p:style>
          <a:lnRef idx="1">
            <a:schemeClr val="dk1"/>
          </a:lnRef>
          <a:fillRef idx="0">
            <a:schemeClr val="dk1"/>
          </a:fillRef>
          <a:effectRef idx="0">
            <a:schemeClr val="dk1"/>
          </a:effectRef>
          <a:fontRef idx="minor">
            <a:schemeClr val="tx1"/>
          </a:fontRef>
        </p:style>
      </p:cxnSp>
      <p:pic>
        <p:nvPicPr>
          <p:cNvPr id="4" name="Picture 3">
            <a:extLst>
              <a:ext uri="{FF2B5EF4-FFF2-40B4-BE49-F238E27FC236}">
                <a16:creationId xmlns:a16="http://schemas.microsoft.com/office/drawing/2014/main" id="{1B7C3091-DEA4-66D1-884C-6CB2FD58DBE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981533" y="4398645"/>
            <a:ext cx="2857476" cy="2271988"/>
          </a:xfrm>
          <a:prstGeom prst="rect">
            <a:avLst/>
          </a:prstGeom>
        </p:spPr>
      </p:pic>
      <p:pic>
        <p:nvPicPr>
          <p:cNvPr id="7" name="Picture 6">
            <a:extLst>
              <a:ext uri="{FF2B5EF4-FFF2-40B4-BE49-F238E27FC236}">
                <a16:creationId xmlns:a16="http://schemas.microsoft.com/office/drawing/2014/main" id="{B5713B37-2314-473A-D0AE-587C49D1AB7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908319" y="1837523"/>
            <a:ext cx="2903612" cy="2276611"/>
          </a:xfrm>
          <a:prstGeom prst="rect">
            <a:avLst/>
          </a:prstGeom>
        </p:spPr>
      </p:pic>
      <p:sp>
        <p:nvSpPr>
          <p:cNvPr id="2" name="Slide Number Placeholder 1">
            <a:extLst>
              <a:ext uri="{FF2B5EF4-FFF2-40B4-BE49-F238E27FC236}">
                <a16:creationId xmlns:a16="http://schemas.microsoft.com/office/drawing/2014/main" id="{D6F33AD6-BCD0-7BD2-5890-1C682DC785B4}"/>
              </a:ext>
            </a:extLst>
          </p:cNvPr>
          <p:cNvSpPr>
            <a:spLocks noGrp="1"/>
          </p:cNvSpPr>
          <p:nvPr>
            <p:ph type="sldNum" sz="quarter" idx="12"/>
          </p:nvPr>
        </p:nvSpPr>
        <p:spPr/>
        <p:txBody>
          <a:bodyPr/>
          <a:lstStyle/>
          <a:p>
            <a:fld id="{EEAD9179-7A6B-4268-BEB2-F3B8EB06115B}" type="slidenum">
              <a:rPr lang="en-US" noProof="0" smtClean="0"/>
              <a:t>37</a:t>
            </a:fld>
            <a:endParaRPr lang="en-US" noProof="0"/>
          </a:p>
        </p:txBody>
      </p:sp>
      <p:sp>
        <p:nvSpPr>
          <p:cNvPr id="5" name="TextBox 4">
            <a:extLst>
              <a:ext uri="{FF2B5EF4-FFF2-40B4-BE49-F238E27FC236}">
                <a16:creationId xmlns:a16="http://schemas.microsoft.com/office/drawing/2014/main" id="{BC1754F1-682A-BE94-E0A0-10CA6FA4AE0D}"/>
              </a:ext>
            </a:extLst>
          </p:cNvPr>
          <p:cNvSpPr txBox="1"/>
          <p:nvPr/>
        </p:nvSpPr>
        <p:spPr>
          <a:xfrm>
            <a:off x="768194" y="966722"/>
            <a:ext cx="10191565" cy="584775"/>
          </a:xfrm>
          <a:prstGeom prst="rect">
            <a:avLst/>
          </a:prstGeom>
          <a:noFill/>
        </p:spPr>
        <p:txBody>
          <a:bodyPr wrap="square" rtlCol="0">
            <a:spAutoFit/>
          </a:bodyPr>
          <a:lstStyle/>
          <a:p>
            <a:r>
              <a:rPr lang="en-US" sz="1600"/>
              <a:t>ML model performance for randomly selected dates from the test dataset shows better correlation between interpolated and observed </a:t>
            </a:r>
            <a:r>
              <a:rPr lang="en-US" sz="1600" u="sng"/>
              <a:t>Average Wind Speed</a:t>
            </a:r>
            <a:r>
              <a:rPr lang="en-US" sz="1600"/>
              <a:t> data.</a:t>
            </a:r>
            <a:endParaRPr lang="en-US" sz="1600" baseline="30000"/>
          </a:p>
        </p:txBody>
      </p:sp>
      <p:pic>
        <p:nvPicPr>
          <p:cNvPr id="6" name="Picture 5">
            <a:extLst>
              <a:ext uri="{FF2B5EF4-FFF2-40B4-BE49-F238E27FC236}">
                <a16:creationId xmlns:a16="http://schemas.microsoft.com/office/drawing/2014/main" id="{5E2191B3-98E6-B694-F261-D599E1961C3A}"/>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7870599" y="1835907"/>
            <a:ext cx="2905367" cy="2258497"/>
          </a:xfrm>
          <a:prstGeom prst="rect">
            <a:avLst/>
          </a:prstGeom>
        </p:spPr>
      </p:pic>
      <p:pic>
        <p:nvPicPr>
          <p:cNvPr id="8" name="Picture 7">
            <a:extLst>
              <a:ext uri="{FF2B5EF4-FFF2-40B4-BE49-F238E27FC236}">
                <a16:creationId xmlns:a16="http://schemas.microsoft.com/office/drawing/2014/main" id="{B9E0931F-AF13-AB52-802B-BAF25FB5B5C6}"/>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7888259" y="4377147"/>
            <a:ext cx="2905517" cy="2282639"/>
          </a:xfrm>
          <a:prstGeom prst="rect">
            <a:avLst/>
          </a:prstGeom>
        </p:spPr>
      </p:pic>
      <p:sp>
        <p:nvSpPr>
          <p:cNvPr id="3" name="TextBox 2">
            <a:extLst>
              <a:ext uri="{FF2B5EF4-FFF2-40B4-BE49-F238E27FC236}">
                <a16:creationId xmlns:a16="http://schemas.microsoft.com/office/drawing/2014/main" id="{5F7FACEC-2C6D-D3DC-7CE3-9725CEF51CBD}"/>
              </a:ext>
            </a:extLst>
          </p:cNvPr>
          <p:cNvSpPr txBox="1"/>
          <p:nvPr/>
        </p:nvSpPr>
        <p:spPr>
          <a:xfrm rot="16200000">
            <a:off x="33028" y="2815064"/>
            <a:ext cx="2733410" cy="584775"/>
          </a:xfrm>
          <a:prstGeom prst="rect">
            <a:avLst/>
          </a:prstGeom>
          <a:noFill/>
        </p:spPr>
        <p:txBody>
          <a:bodyPr wrap="square" rtlCol="0">
            <a:spAutoFit/>
          </a:bodyPr>
          <a:lstStyle/>
          <a:p>
            <a:pPr algn="ctr"/>
            <a:r>
              <a:rPr lang="en-US" sz="1600"/>
              <a:t>Scatter Plot before </a:t>
            </a:r>
          </a:p>
          <a:p>
            <a:pPr algn="ctr"/>
            <a:r>
              <a:rPr lang="en-US" sz="1600"/>
              <a:t>model (</a:t>
            </a:r>
            <a:r>
              <a:rPr lang="en-US" sz="1600" u="sng"/>
              <a:t>test</a:t>
            </a:r>
            <a:r>
              <a:rPr lang="en-US" sz="1600"/>
              <a:t> set)</a:t>
            </a:r>
          </a:p>
        </p:txBody>
      </p:sp>
      <p:sp>
        <p:nvSpPr>
          <p:cNvPr id="10" name="TextBox 9">
            <a:extLst>
              <a:ext uri="{FF2B5EF4-FFF2-40B4-BE49-F238E27FC236}">
                <a16:creationId xmlns:a16="http://schemas.microsoft.com/office/drawing/2014/main" id="{807632C2-D134-EB7B-7CE3-0A7B09307782}"/>
              </a:ext>
            </a:extLst>
          </p:cNvPr>
          <p:cNvSpPr txBox="1"/>
          <p:nvPr/>
        </p:nvSpPr>
        <p:spPr>
          <a:xfrm rot="16200000">
            <a:off x="33029" y="5242251"/>
            <a:ext cx="2733410" cy="584775"/>
          </a:xfrm>
          <a:prstGeom prst="rect">
            <a:avLst/>
          </a:prstGeom>
          <a:noFill/>
        </p:spPr>
        <p:txBody>
          <a:bodyPr wrap="square" rtlCol="0">
            <a:spAutoFit/>
          </a:bodyPr>
          <a:lstStyle/>
          <a:p>
            <a:pPr algn="ctr"/>
            <a:r>
              <a:rPr lang="en-US" sz="1600">
                <a:solidFill>
                  <a:srgbClr val="00B050"/>
                </a:solidFill>
              </a:rPr>
              <a:t>Scatter Plot after ML </a:t>
            </a:r>
          </a:p>
          <a:p>
            <a:pPr algn="ctr"/>
            <a:r>
              <a:rPr lang="en-US" sz="1600">
                <a:solidFill>
                  <a:srgbClr val="00B050"/>
                </a:solidFill>
              </a:rPr>
              <a:t>model (</a:t>
            </a:r>
            <a:r>
              <a:rPr lang="en-US" sz="1600" u="sng">
                <a:solidFill>
                  <a:srgbClr val="00B050"/>
                </a:solidFill>
              </a:rPr>
              <a:t>test</a:t>
            </a:r>
            <a:r>
              <a:rPr lang="en-US" sz="1600">
                <a:solidFill>
                  <a:srgbClr val="00B050"/>
                </a:solidFill>
              </a:rPr>
              <a:t> set)</a:t>
            </a:r>
          </a:p>
        </p:txBody>
      </p:sp>
      <p:sp>
        <p:nvSpPr>
          <p:cNvPr id="13" name="TextBox 12">
            <a:extLst>
              <a:ext uri="{FF2B5EF4-FFF2-40B4-BE49-F238E27FC236}">
                <a16:creationId xmlns:a16="http://schemas.microsoft.com/office/drawing/2014/main" id="{13351FEE-D1E1-907D-1976-25C38EF128B7}"/>
              </a:ext>
            </a:extLst>
          </p:cNvPr>
          <p:cNvSpPr txBox="1"/>
          <p:nvPr/>
        </p:nvSpPr>
        <p:spPr>
          <a:xfrm rot="16200000">
            <a:off x="5720977" y="2754599"/>
            <a:ext cx="2733410" cy="584775"/>
          </a:xfrm>
          <a:prstGeom prst="rect">
            <a:avLst/>
          </a:prstGeom>
          <a:noFill/>
        </p:spPr>
        <p:txBody>
          <a:bodyPr wrap="square" rtlCol="0">
            <a:spAutoFit/>
          </a:bodyPr>
          <a:lstStyle/>
          <a:p>
            <a:pPr algn="ctr"/>
            <a:r>
              <a:rPr lang="en-US" sz="1600"/>
              <a:t>Scatter Plot before </a:t>
            </a:r>
          </a:p>
          <a:p>
            <a:pPr algn="ctr"/>
            <a:r>
              <a:rPr lang="en-US" sz="1600"/>
              <a:t>model (</a:t>
            </a:r>
            <a:r>
              <a:rPr lang="en-US" sz="1600" u="sng"/>
              <a:t>test</a:t>
            </a:r>
            <a:r>
              <a:rPr lang="en-US" sz="1600"/>
              <a:t> set)</a:t>
            </a:r>
          </a:p>
        </p:txBody>
      </p:sp>
      <p:sp>
        <p:nvSpPr>
          <p:cNvPr id="14" name="TextBox 13">
            <a:extLst>
              <a:ext uri="{FF2B5EF4-FFF2-40B4-BE49-F238E27FC236}">
                <a16:creationId xmlns:a16="http://schemas.microsoft.com/office/drawing/2014/main" id="{4EC5EB06-36D2-6658-1316-98146D19F721}"/>
              </a:ext>
            </a:extLst>
          </p:cNvPr>
          <p:cNvSpPr txBox="1"/>
          <p:nvPr/>
        </p:nvSpPr>
        <p:spPr>
          <a:xfrm rot="16200000">
            <a:off x="5720978" y="5181786"/>
            <a:ext cx="2733410" cy="584775"/>
          </a:xfrm>
          <a:prstGeom prst="rect">
            <a:avLst/>
          </a:prstGeom>
          <a:noFill/>
        </p:spPr>
        <p:txBody>
          <a:bodyPr wrap="square" rtlCol="0">
            <a:spAutoFit/>
          </a:bodyPr>
          <a:lstStyle/>
          <a:p>
            <a:pPr algn="ctr"/>
            <a:r>
              <a:rPr lang="en-US" sz="1600">
                <a:solidFill>
                  <a:srgbClr val="00B050"/>
                </a:solidFill>
              </a:rPr>
              <a:t>Scatter Plot after ML </a:t>
            </a:r>
          </a:p>
          <a:p>
            <a:pPr algn="ctr"/>
            <a:r>
              <a:rPr lang="en-US" sz="1600">
                <a:solidFill>
                  <a:srgbClr val="00B050"/>
                </a:solidFill>
              </a:rPr>
              <a:t>model (</a:t>
            </a:r>
            <a:r>
              <a:rPr lang="en-US" sz="1600" u="sng">
                <a:solidFill>
                  <a:srgbClr val="00B050"/>
                </a:solidFill>
              </a:rPr>
              <a:t>test</a:t>
            </a:r>
            <a:r>
              <a:rPr lang="en-US" sz="1600">
                <a:solidFill>
                  <a:srgbClr val="00B050"/>
                </a:solidFill>
              </a:rPr>
              <a:t> set)</a:t>
            </a:r>
          </a:p>
        </p:txBody>
      </p:sp>
    </p:spTree>
    <p:extLst>
      <p:ext uri="{BB962C8B-B14F-4D97-AF65-F5344CB8AC3E}">
        <p14:creationId xmlns:p14="http://schemas.microsoft.com/office/powerpoint/2010/main" val="13410908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1000"/>
                                        <p:tgtEl>
                                          <p:spTgt spid="24"/>
                                        </p:tgtEl>
                                      </p:cBhvr>
                                    </p:animEffect>
                                    <p:anim calcmode="lin" valueType="num">
                                      <p:cBhvr>
                                        <p:cTn id="8" dur="1000" fill="hold"/>
                                        <p:tgtEl>
                                          <p:spTgt spid="24"/>
                                        </p:tgtEl>
                                        <p:attrNameLst>
                                          <p:attrName>ppt_x</p:attrName>
                                        </p:attrNameLst>
                                      </p:cBhvr>
                                      <p:tavLst>
                                        <p:tav tm="0">
                                          <p:val>
                                            <p:strVal val="#ppt_x"/>
                                          </p:val>
                                        </p:tav>
                                        <p:tav tm="100000">
                                          <p:val>
                                            <p:strVal val="#ppt_x"/>
                                          </p:val>
                                        </p:tav>
                                      </p:tavLst>
                                    </p:anim>
                                    <p:anim calcmode="lin" valueType="num">
                                      <p:cBhvr>
                                        <p:cTn id="9" dur="1000" fill="hold"/>
                                        <p:tgtEl>
                                          <p:spTgt spid="24"/>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1000"/>
                                        <p:tgtEl>
                                          <p:spTgt spid="6"/>
                                        </p:tgtEl>
                                      </p:cBhvr>
                                    </p:animEffect>
                                    <p:anim calcmode="lin" valueType="num">
                                      <p:cBhvr>
                                        <p:cTn id="13" dur="1000" fill="hold"/>
                                        <p:tgtEl>
                                          <p:spTgt spid="6"/>
                                        </p:tgtEl>
                                        <p:attrNameLst>
                                          <p:attrName>ppt_x</p:attrName>
                                        </p:attrNameLst>
                                      </p:cBhvr>
                                      <p:tavLst>
                                        <p:tav tm="0">
                                          <p:val>
                                            <p:strVal val="#ppt_x"/>
                                          </p:val>
                                        </p:tav>
                                        <p:tav tm="100000">
                                          <p:val>
                                            <p:strVal val="#ppt_x"/>
                                          </p:val>
                                        </p:tav>
                                      </p:tavLst>
                                    </p:anim>
                                    <p:anim calcmode="lin" valueType="num">
                                      <p:cBhvr>
                                        <p:cTn id="14" dur="1000" fill="hold"/>
                                        <p:tgtEl>
                                          <p:spTgt spid="6"/>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1000"/>
                                        <p:tgtEl>
                                          <p:spTgt spid="8"/>
                                        </p:tgtEl>
                                      </p:cBhvr>
                                    </p:animEffect>
                                    <p:anim calcmode="lin" valueType="num">
                                      <p:cBhvr>
                                        <p:cTn id="18" dur="1000" fill="hold"/>
                                        <p:tgtEl>
                                          <p:spTgt spid="8"/>
                                        </p:tgtEl>
                                        <p:attrNameLst>
                                          <p:attrName>ppt_x</p:attrName>
                                        </p:attrNameLst>
                                      </p:cBhvr>
                                      <p:tavLst>
                                        <p:tav tm="0">
                                          <p:val>
                                            <p:strVal val="#ppt_x"/>
                                          </p:val>
                                        </p:tav>
                                        <p:tav tm="100000">
                                          <p:val>
                                            <p:strVal val="#ppt_x"/>
                                          </p:val>
                                        </p:tav>
                                      </p:tavLst>
                                    </p:anim>
                                    <p:anim calcmode="lin" valueType="num">
                                      <p:cBhvr>
                                        <p:cTn id="19"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768194" y="289742"/>
            <a:ext cx="9144000" cy="7316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i="1" u="sng">
                <a:solidFill>
                  <a:schemeClr val="accent1">
                    <a:lumMod val="50000"/>
                  </a:schemeClr>
                </a:solidFill>
                <a:latin typeface="Calibri Light" panose="020F0302020204030204" pitchFamily="34" charset="0"/>
              </a:rPr>
              <a:t>ML Model Results : </a:t>
            </a:r>
            <a:r>
              <a:rPr lang="en-US" sz="4000" b="1" i="1" u="sng">
                <a:solidFill>
                  <a:schemeClr val="accent1">
                    <a:lumMod val="50000"/>
                  </a:schemeClr>
                </a:solidFill>
                <a:latin typeface="Calibri Light" panose="020F0302020204030204" pitchFamily="34" charset="0"/>
              </a:rPr>
              <a:t>Average Wind Speed</a:t>
            </a:r>
            <a:endParaRPr lang="en-US" sz="4000" b="1" i="1" u="sng">
              <a:solidFill>
                <a:schemeClr val="accent1">
                  <a:lumMod val="50000"/>
                </a:schemeClr>
              </a:solidFill>
            </a:endParaRPr>
          </a:p>
        </p:txBody>
      </p:sp>
      <p:pic>
        <p:nvPicPr>
          <p:cNvPr id="5" name="Picture 4">
            <a:extLst>
              <a:ext uri="{FF2B5EF4-FFF2-40B4-BE49-F238E27FC236}">
                <a16:creationId xmlns:a16="http://schemas.microsoft.com/office/drawing/2014/main" id="{FFB1E75E-CD71-507C-BB0A-BE0ACF1CB6F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188669" y="1775533"/>
            <a:ext cx="5814662" cy="4317819"/>
          </a:xfrm>
          <a:prstGeom prst="rect">
            <a:avLst/>
          </a:prstGeom>
        </p:spPr>
      </p:pic>
      <p:sp>
        <p:nvSpPr>
          <p:cNvPr id="2" name="Slide Number Placeholder 1">
            <a:extLst>
              <a:ext uri="{FF2B5EF4-FFF2-40B4-BE49-F238E27FC236}">
                <a16:creationId xmlns:a16="http://schemas.microsoft.com/office/drawing/2014/main" id="{13DBE0CA-2E0D-B5BD-10B2-DA3C2EE8EEE3}"/>
              </a:ext>
            </a:extLst>
          </p:cNvPr>
          <p:cNvSpPr>
            <a:spLocks noGrp="1"/>
          </p:cNvSpPr>
          <p:nvPr>
            <p:ph type="sldNum" sz="quarter" idx="12"/>
          </p:nvPr>
        </p:nvSpPr>
        <p:spPr/>
        <p:txBody>
          <a:bodyPr/>
          <a:lstStyle/>
          <a:p>
            <a:fld id="{EEAD9179-7A6B-4268-BEB2-F3B8EB06115B}" type="slidenum">
              <a:rPr lang="en-US" smtClean="0"/>
              <a:pPr/>
              <a:t>38</a:t>
            </a:fld>
            <a:endParaRPr lang="en-US"/>
          </a:p>
        </p:txBody>
      </p:sp>
      <p:sp>
        <p:nvSpPr>
          <p:cNvPr id="7" name="TextBox 6">
            <a:extLst>
              <a:ext uri="{FF2B5EF4-FFF2-40B4-BE49-F238E27FC236}">
                <a16:creationId xmlns:a16="http://schemas.microsoft.com/office/drawing/2014/main" id="{FD8378DE-F5EB-1E8C-883F-7E3E98AD8C06}"/>
              </a:ext>
            </a:extLst>
          </p:cNvPr>
          <p:cNvSpPr txBox="1"/>
          <p:nvPr/>
        </p:nvSpPr>
        <p:spPr>
          <a:xfrm>
            <a:off x="768194" y="1058022"/>
            <a:ext cx="10562672" cy="369332"/>
          </a:xfrm>
          <a:prstGeom prst="rect">
            <a:avLst/>
          </a:prstGeom>
          <a:noFill/>
        </p:spPr>
        <p:txBody>
          <a:bodyPr wrap="square" rtlCol="0">
            <a:spAutoFit/>
          </a:bodyPr>
          <a:lstStyle/>
          <a:p>
            <a:r>
              <a:rPr lang="en-US"/>
              <a:t>Overall, ML model performance is satisfactory for daily </a:t>
            </a:r>
            <a:r>
              <a:rPr lang="en-US" u="sng"/>
              <a:t>Average Wind Speed</a:t>
            </a:r>
            <a:r>
              <a:rPr lang="en-US"/>
              <a:t> datasets from the test set.</a:t>
            </a:r>
          </a:p>
        </p:txBody>
      </p:sp>
      <p:sp>
        <p:nvSpPr>
          <p:cNvPr id="3" name="TextBox 2">
            <a:extLst>
              <a:ext uri="{FF2B5EF4-FFF2-40B4-BE49-F238E27FC236}">
                <a16:creationId xmlns:a16="http://schemas.microsoft.com/office/drawing/2014/main" id="{70038EA7-000B-214F-556F-2D23D78E72CB}"/>
              </a:ext>
            </a:extLst>
          </p:cNvPr>
          <p:cNvSpPr txBox="1"/>
          <p:nvPr/>
        </p:nvSpPr>
        <p:spPr>
          <a:xfrm>
            <a:off x="3358822" y="6154880"/>
            <a:ext cx="6036906" cy="646331"/>
          </a:xfrm>
          <a:prstGeom prst="rect">
            <a:avLst/>
          </a:prstGeom>
          <a:noFill/>
        </p:spPr>
        <p:txBody>
          <a:bodyPr wrap="square" rtlCol="0">
            <a:spAutoFit/>
          </a:bodyPr>
          <a:lstStyle/>
          <a:p>
            <a:pPr algn="ctr"/>
            <a:r>
              <a:rPr lang="en-US" b="1">
                <a:solidFill>
                  <a:schemeClr val="accent6">
                    <a:lumMod val="75000"/>
                  </a:schemeClr>
                </a:solidFill>
              </a:rPr>
              <a:t>R</a:t>
            </a:r>
            <a:r>
              <a:rPr lang="en-US" b="1" baseline="30000">
                <a:solidFill>
                  <a:schemeClr val="accent6">
                    <a:lumMod val="75000"/>
                  </a:schemeClr>
                </a:solidFill>
              </a:rPr>
              <a:t>2</a:t>
            </a:r>
            <a:r>
              <a:rPr lang="en-US" b="1">
                <a:solidFill>
                  <a:schemeClr val="accent6">
                    <a:lumMod val="75000"/>
                  </a:schemeClr>
                </a:solidFill>
              </a:rPr>
              <a:t> comparison Before and After Applying ML Model </a:t>
            </a:r>
            <a:r>
              <a:rPr lang="en-US" b="1" u="sng">
                <a:solidFill>
                  <a:schemeClr val="accent6">
                    <a:lumMod val="75000"/>
                  </a:schemeClr>
                </a:solidFill>
              </a:rPr>
              <a:t>for days in Test Dataset </a:t>
            </a:r>
            <a:endParaRPr lang="en-US" b="1">
              <a:solidFill>
                <a:schemeClr val="accent6">
                  <a:lumMod val="75000"/>
                </a:schemeClr>
              </a:solidFill>
            </a:endParaRPr>
          </a:p>
        </p:txBody>
      </p:sp>
      <p:sp>
        <p:nvSpPr>
          <p:cNvPr id="6" name="TextBox 5">
            <a:extLst>
              <a:ext uri="{FF2B5EF4-FFF2-40B4-BE49-F238E27FC236}">
                <a16:creationId xmlns:a16="http://schemas.microsoft.com/office/drawing/2014/main" id="{D9D897AA-F547-B38D-5EC7-6F9B21D992C9}"/>
              </a:ext>
            </a:extLst>
          </p:cNvPr>
          <p:cNvSpPr txBox="1"/>
          <p:nvPr/>
        </p:nvSpPr>
        <p:spPr>
          <a:xfrm>
            <a:off x="4496955" y="5594983"/>
            <a:ext cx="1552575" cy="307777"/>
          </a:xfrm>
          <a:prstGeom prst="rect">
            <a:avLst/>
          </a:prstGeom>
          <a:solidFill>
            <a:schemeClr val="bg1"/>
          </a:solidFill>
        </p:spPr>
        <p:txBody>
          <a:bodyPr wrap="square" rtlCol="0">
            <a:spAutoFit/>
          </a:bodyPr>
          <a:lstStyle/>
          <a:p>
            <a:r>
              <a:rPr lang="en-US" sz="1400"/>
              <a:t>Before ML applied</a:t>
            </a:r>
          </a:p>
        </p:txBody>
      </p:sp>
      <p:sp>
        <p:nvSpPr>
          <p:cNvPr id="10" name="TextBox 9">
            <a:extLst>
              <a:ext uri="{FF2B5EF4-FFF2-40B4-BE49-F238E27FC236}">
                <a16:creationId xmlns:a16="http://schemas.microsoft.com/office/drawing/2014/main" id="{CC650680-B20E-2E1A-596D-9106EFE41B86}"/>
              </a:ext>
            </a:extLst>
          </p:cNvPr>
          <p:cNvSpPr txBox="1"/>
          <p:nvPr/>
        </p:nvSpPr>
        <p:spPr>
          <a:xfrm>
            <a:off x="6954405" y="5594982"/>
            <a:ext cx="1552575" cy="307777"/>
          </a:xfrm>
          <a:prstGeom prst="rect">
            <a:avLst/>
          </a:prstGeom>
          <a:solidFill>
            <a:schemeClr val="bg1"/>
          </a:solidFill>
        </p:spPr>
        <p:txBody>
          <a:bodyPr wrap="square" rtlCol="0">
            <a:spAutoFit/>
          </a:bodyPr>
          <a:lstStyle/>
          <a:p>
            <a:r>
              <a:rPr lang="en-US" sz="1400"/>
              <a:t>After ML applied</a:t>
            </a:r>
          </a:p>
        </p:txBody>
      </p:sp>
      <p:sp>
        <p:nvSpPr>
          <p:cNvPr id="11" name="TextBox 10">
            <a:extLst>
              <a:ext uri="{FF2B5EF4-FFF2-40B4-BE49-F238E27FC236}">
                <a16:creationId xmlns:a16="http://schemas.microsoft.com/office/drawing/2014/main" id="{1A922FD9-3DB5-C721-F8E1-C6A531459DCE}"/>
              </a:ext>
            </a:extLst>
          </p:cNvPr>
          <p:cNvSpPr txBox="1"/>
          <p:nvPr/>
        </p:nvSpPr>
        <p:spPr>
          <a:xfrm>
            <a:off x="5726835" y="5814938"/>
            <a:ext cx="1552575" cy="307777"/>
          </a:xfrm>
          <a:prstGeom prst="rect">
            <a:avLst/>
          </a:prstGeom>
          <a:solidFill>
            <a:schemeClr val="bg1"/>
          </a:solidFill>
        </p:spPr>
        <p:txBody>
          <a:bodyPr wrap="square" rtlCol="0">
            <a:spAutoFit/>
          </a:bodyPr>
          <a:lstStyle/>
          <a:p>
            <a:pPr algn="ctr"/>
            <a:r>
              <a:rPr lang="en-US" sz="1400"/>
              <a:t>Performance</a:t>
            </a:r>
          </a:p>
        </p:txBody>
      </p:sp>
    </p:spTree>
    <p:extLst>
      <p:ext uri="{BB962C8B-B14F-4D97-AF65-F5344CB8AC3E}">
        <p14:creationId xmlns:p14="http://schemas.microsoft.com/office/powerpoint/2010/main" val="405452542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1015661" y="212600"/>
            <a:ext cx="10160678" cy="108452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200" i="1" u="sng">
                <a:solidFill>
                  <a:schemeClr val="accent1">
                    <a:lumMod val="50000"/>
                  </a:schemeClr>
                </a:solidFill>
                <a:latin typeface="Calibri Light" panose="020F0302020204030204" pitchFamily="34" charset="0"/>
              </a:rPr>
              <a:t>Mapping Source and Modeled Data : </a:t>
            </a:r>
            <a:r>
              <a:rPr lang="en-US" sz="3200" b="1" i="1" u="sng">
                <a:solidFill>
                  <a:schemeClr val="accent1">
                    <a:lumMod val="50000"/>
                  </a:schemeClr>
                </a:solidFill>
                <a:latin typeface="Calibri Light" panose="020F0302020204030204" pitchFamily="34" charset="0"/>
              </a:rPr>
              <a:t>Average Wind Speed</a:t>
            </a:r>
            <a:r>
              <a:rPr lang="en-US" sz="3200" i="1" u="sng">
                <a:solidFill>
                  <a:schemeClr val="accent1">
                    <a:lumMod val="50000"/>
                  </a:schemeClr>
                </a:solidFill>
                <a:latin typeface="Calibri Light" panose="020F0302020204030204" pitchFamily="34" charset="0"/>
              </a:rPr>
              <a:t> </a:t>
            </a:r>
            <a:endParaRPr lang="en-US" sz="3200" b="1" i="1" u="sng">
              <a:solidFill>
                <a:schemeClr val="accent1">
                  <a:lumMod val="50000"/>
                </a:schemeClr>
              </a:solidFill>
            </a:endParaRPr>
          </a:p>
        </p:txBody>
      </p:sp>
      <p:pic>
        <p:nvPicPr>
          <p:cNvPr id="3" name="Picture 2">
            <a:extLst>
              <a:ext uri="{FF2B5EF4-FFF2-40B4-BE49-F238E27FC236}">
                <a16:creationId xmlns:a16="http://schemas.microsoft.com/office/drawing/2014/main" id="{16BBEA49-B7C7-2619-44DA-70CDEE7990C0}"/>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971053" y="2202041"/>
            <a:ext cx="8249894" cy="3483122"/>
          </a:xfrm>
          <a:prstGeom prst="rect">
            <a:avLst/>
          </a:prstGeom>
        </p:spPr>
      </p:pic>
      <p:sp>
        <p:nvSpPr>
          <p:cNvPr id="2" name="Slide Number Placeholder 1">
            <a:extLst>
              <a:ext uri="{FF2B5EF4-FFF2-40B4-BE49-F238E27FC236}">
                <a16:creationId xmlns:a16="http://schemas.microsoft.com/office/drawing/2014/main" id="{99AE1A04-85B3-C2B8-36C1-23AD8083AA4B}"/>
              </a:ext>
            </a:extLst>
          </p:cNvPr>
          <p:cNvSpPr>
            <a:spLocks noGrp="1"/>
          </p:cNvSpPr>
          <p:nvPr>
            <p:ph type="sldNum" sz="quarter" idx="12"/>
          </p:nvPr>
        </p:nvSpPr>
        <p:spPr/>
        <p:txBody>
          <a:bodyPr/>
          <a:lstStyle/>
          <a:p>
            <a:fld id="{EEAD9179-7A6B-4268-BEB2-F3B8EB06115B}" type="slidenum">
              <a:rPr lang="en-US" noProof="0" smtClean="0"/>
              <a:t>39</a:t>
            </a:fld>
            <a:endParaRPr lang="en-US" noProof="0"/>
          </a:p>
        </p:txBody>
      </p:sp>
      <p:sp>
        <p:nvSpPr>
          <p:cNvPr id="4" name="TextBox 3">
            <a:extLst>
              <a:ext uri="{FF2B5EF4-FFF2-40B4-BE49-F238E27FC236}">
                <a16:creationId xmlns:a16="http://schemas.microsoft.com/office/drawing/2014/main" id="{07BBA27D-027A-E644-50E4-A8E16BCA174A}"/>
              </a:ext>
            </a:extLst>
          </p:cNvPr>
          <p:cNvSpPr txBox="1"/>
          <p:nvPr/>
        </p:nvSpPr>
        <p:spPr>
          <a:xfrm>
            <a:off x="1015661" y="1297125"/>
            <a:ext cx="10562672" cy="646331"/>
          </a:xfrm>
          <a:prstGeom prst="rect">
            <a:avLst/>
          </a:prstGeom>
          <a:noFill/>
        </p:spPr>
        <p:txBody>
          <a:bodyPr wrap="square" rtlCol="0">
            <a:spAutoFit/>
          </a:bodyPr>
          <a:lstStyle/>
          <a:p>
            <a:r>
              <a:rPr lang="en-US"/>
              <a:t>Model interpolated high-resolution </a:t>
            </a:r>
            <a:r>
              <a:rPr lang="en-US" u="sng"/>
              <a:t>Average Wind Speed</a:t>
            </a:r>
            <a:r>
              <a:rPr lang="en-US"/>
              <a:t> data has good spatial agreement with observed (TWC) high-resolution data.  </a:t>
            </a:r>
          </a:p>
        </p:txBody>
      </p:sp>
    </p:spTree>
    <p:extLst>
      <p:ext uri="{BB962C8B-B14F-4D97-AF65-F5344CB8AC3E}">
        <p14:creationId xmlns:p14="http://schemas.microsoft.com/office/powerpoint/2010/main" val="10524359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1290209" y="2856660"/>
            <a:ext cx="9611581" cy="776300"/>
          </a:xfrm>
          <a:prstGeom prst="rect">
            <a:avLst/>
          </a:prstGeom>
        </p:spPr>
        <p:txBody>
          <a:bodyPr vert="horz" lIns="91440" tIns="45720" rIns="91440" bIns="45720" rtlCol="0" anchor="b">
            <a:normAutofit fontScale="92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spcAft>
                <a:spcPts val="600"/>
              </a:spcAft>
            </a:pPr>
            <a:r>
              <a:rPr lang="en-US" sz="5400" b="1" i="1" kern="1200" dirty="0">
                <a:solidFill>
                  <a:srgbClr val="10384F"/>
                </a:solidFill>
                <a:latin typeface="+mj-lt"/>
                <a:ea typeface="+mj-ea"/>
                <a:cs typeface="+mj-cs"/>
              </a:rPr>
              <a:t>1. Motivation and Business Impact</a:t>
            </a:r>
          </a:p>
        </p:txBody>
      </p:sp>
      <p:sp>
        <p:nvSpPr>
          <p:cNvPr id="2" name="Slide Number Placeholder 1">
            <a:extLst>
              <a:ext uri="{FF2B5EF4-FFF2-40B4-BE49-F238E27FC236}">
                <a16:creationId xmlns:a16="http://schemas.microsoft.com/office/drawing/2014/main" id="{019A87F5-EE45-8C3C-1DEA-E953C11457DE}"/>
              </a:ext>
            </a:extLst>
          </p:cNvPr>
          <p:cNvSpPr>
            <a:spLocks noGrp="1"/>
          </p:cNvSpPr>
          <p:nvPr>
            <p:ph type="sldNum" sz="quarter" idx="12"/>
          </p:nvPr>
        </p:nvSpPr>
        <p:spPr/>
        <p:txBody>
          <a:bodyPr/>
          <a:lstStyle/>
          <a:p>
            <a:fld id="{EEAD9179-7A6B-4268-BEB2-F3B8EB06115B}" type="slidenum">
              <a:rPr lang="en-US" noProof="0" smtClean="0"/>
              <a:t>4</a:t>
            </a:fld>
            <a:endParaRPr lang="en-US" noProof="0"/>
          </a:p>
        </p:txBody>
      </p:sp>
      <p:cxnSp>
        <p:nvCxnSpPr>
          <p:cNvPr id="3" name="Straight Connector 2">
            <a:extLst>
              <a:ext uri="{FF2B5EF4-FFF2-40B4-BE49-F238E27FC236}">
                <a16:creationId xmlns:a16="http://schemas.microsoft.com/office/drawing/2014/main" id="{7273D0A7-41A2-E613-710D-6DA59FD2EF65}"/>
              </a:ext>
            </a:extLst>
          </p:cNvPr>
          <p:cNvCxnSpPr/>
          <p:nvPr/>
        </p:nvCxnSpPr>
        <p:spPr>
          <a:xfrm>
            <a:off x="933061" y="6307494"/>
            <a:ext cx="10487608" cy="0"/>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082702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865388" y="308973"/>
            <a:ext cx="9771851" cy="86591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i="1" u="sng">
                <a:solidFill>
                  <a:schemeClr val="accent1">
                    <a:lumMod val="50000"/>
                  </a:schemeClr>
                </a:solidFill>
                <a:latin typeface="Calibri Light" panose="020F0302020204030204" pitchFamily="34" charset="0"/>
              </a:rPr>
              <a:t>ML/DL Model Results : </a:t>
            </a:r>
            <a:r>
              <a:rPr lang="en-US" sz="4000" b="1" i="1" u="sng">
                <a:solidFill>
                  <a:schemeClr val="accent1">
                    <a:lumMod val="50000"/>
                  </a:schemeClr>
                </a:solidFill>
                <a:latin typeface="Calibri Light" panose="020F0302020204030204" pitchFamily="34" charset="0"/>
              </a:rPr>
              <a:t>Maximum Temperature</a:t>
            </a:r>
            <a:endParaRPr lang="en-US" sz="4000" b="1" i="1" u="sng">
              <a:solidFill>
                <a:schemeClr val="accent1">
                  <a:lumMod val="50000"/>
                </a:schemeClr>
              </a:solidFill>
            </a:endParaRPr>
          </a:p>
        </p:txBody>
      </p:sp>
      <p:sp>
        <p:nvSpPr>
          <p:cNvPr id="10" name="TextBox 9">
            <a:extLst>
              <a:ext uri="{FF2B5EF4-FFF2-40B4-BE49-F238E27FC236}">
                <a16:creationId xmlns:a16="http://schemas.microsoft.com/office/drawing/2014/main" id="{DDD763E9-CE6D-7E6C-735D-E01DF9793F16}"/>
              </a:ext>
            </a:extLst>
          </p:cNvPr>
          <p:cNvSpPr txBox="1"/>
          <p:nvPr/>
        </p:nvSpPr>
        <p:spPr>
          <a:xfrm>
            <a:off x="274049" y="1288838"/>
            <a:ext cx="1689353" cy="1200329"/>
          </a:xfrm>
          <a:prstGeom prst="rect">
            <a:avLst/>
          </a:prstGeom>
          <a:solidFill>
            <a:schemeClr val="bg1">
              <a:lumMod val="85000"/>
            </a:schemeClr>
          </a:solidFill>
        </p:spPr>
        <p:txBody>
          <a:bodyPr wrap="square" rtlCol="0">
            <a:spAutoFit/>
          </a:bodyPr>
          <a:lstStyle/>
          <a:p>
            <a:r>
              <a:rPr lang="en-US" b="1"/>
              <a:t>ML :</a:t>
            </a:r>
            <a:r>
              <a:rPr lang="en-US"/>
              <a:t> </a:t>
            </a:r>
          </a:p>
          <a:p>
            <a:r>
              <a:rPr lang="en-US"/>
              <a:t>Gradient-Boosting Decision Tree</a:t>
            </a:r>
          </a:p>
        </p:txBody>
      </p:sp>
      <p:sp>
        <p:nvSpPr>
          <p:cNvPr id="20" name="TextBox 19">
            <a:extLst>
              <a:ext uri="{FF2B5EF4-FFF2-40B4-BE49-F238E27FC236}">
                <a16:creationId xmlns:a16="http://schemas.microsoft.com/office/drawing/2014/main" id="{040BCA99-2FFF-618A-ADD3-A00006589972}"/>
              </a:ext>
            </a:extLst>
          </p:cNvPr>
          <p:cNvSpPr txBox="1"/>
          <p:nvPr/>
        </p:nvSpPr>
        <p:spPr>
          <a:xfrm>
            <a:off x="3034116" y="3421751"/>
            <a:ext cx="3119211" cy="338554"/>
          </a:xfrm>
          <a:prstGeom prst="rect">
            <a:avLst/>
          </a:prstGeom>
          <a:noFill/>
        </p:spPr>
        <p:txBody>
          <a:bodyPr wrap="square" rtlCol="0">
            <a:spAutoFit/>
          </a:bodyPr>
          <a:lstStyle/>
          <a:p>
            <a:pPr algn="ctr"/>
            <a:r>
              <a:rPr lang="en-US" sz="1600"/>
              <a:t>Performance </a:t>
            </a:r>
            <a:r>
              <a:rPr lang="en-US" sz="1600">
                <a:solidFill>
                  <a:srgbClr val="7030A0"/>
                </a:solidFill>
              </a:rPr>
              <a:t>train</a:t>
            </a:r>
            <a:r>
              <a:rPr lang="en-US" sz="1600"/>
              <a:t> set</a:t>
            </a:r>
          </a:p>
        </p:txBody>
      </p:sp>
      <p:pic>
        <p:nvPicPr>
          <p:cNvPr id="2" name="Picture 1">
            <a:extLst>
              <a:ext uri="{FF2B5EF4-FFF2-40B4-BE49-F238E27FC236}">
                <a16:creationId xmlns:a16="http://schemas.microsoft.com/office/drawing/2014/main" id="{C4F21C2E-6869-30CB-DB14-9CB4794C171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771968" y="1124636"/>
            <a:ext cx="3119210" cy="2347364"/>
          </a:xfrm>
          <a:prstGeom prst="rect">
            <a:avLst/>
          </a:prstGeom>
        </p:spPr>
      </p:pic>
      <p:sp>
        <p:nvSpPr>
          <p:cNvPr id="7" name="TextBox 6">
            <a:extLst>
              <a:ext uri="{FF2B5EF4-FFF2-40B4-BE49-F238E27FC236}">
                <a16:creationId xmlns:a16="http://schemas.microsoft.com/office/drawing/2014/main" id="{B641E756-718B-0BB8-7309-6CDF315EBB46}"/>
              </a:ext>
            </a:extLst>
          </p:cNvPr>
          <p:cNvSpPr txBox="1"/>
          <p:nvPr/>
        </p:nvSpPr>
        <p:spPr>
          <a:xfrm>
            <a:off x="274049" y="4170313"/>
            <a:ext cx="1534389" cy="1200329"/>
          </a:xfrm>
          <a:prstGeom prst="rect">
            <a:avLst/>
          </a:prstGeom>
          <a:solidFill>
            <a:schemeClr val="accent1">
              <a:lumMod val="20000"/>
              <a:lumOff val="80000"/>
            </a:schemeClr>
          </a:solidFill>
        </p:spPr>
        <p:txBody>
          <a:bodyPr wrap="square">
            <a:spAutoFit/>
          </a:bodyPr>
          <a:lstStyle/>
          <a:p>
            <a:r>
              <a:rPr lang="en-US" b="1"/>
              <a:t>DL :</a:t>
            </a:r>
            <a:r>
              <a:rPr lang="en-US"/>
              <a:t> </a:t>
            </a:r>
          </a:p>
          <a:p>
            <a:r>
              <a:rPr lang="en-US"/>
              <a:t>Multi-Layered </a:t>
            </a:r>
            <a:r>
              <a:rPr lang="en-US" err="1"/>
              <a:t>Perceptrons</a:t>
            </a:r>
            <a:r>
              <a:rPr lang="en-US"/>
              <a:t> (MLP)</a:t>
            </a:r>
          </a:p>
        </p:txBody>
      </p:sp>
      <p:sp>
        <p:nvSpPr>
          <p:cNvPr id="11" name="TextBox 10">
            <a:extLst>
              <a:ext uri="{FF2B5EF4-FFF2-40B4-BE49-F238E27FC236}">
                <a16:creationId xmlns:a16="http://schemas.microsoft.com/office/drawing/2014/main" id="{1E408B26-D81E-9B77-1C88-EEEC3785D485}"/>
              </a:ext>
            </a:extLst>
          </p:cNvPr>
          <p:cNvSpPr txBox="1"/>
          <p:nvPr/>
        </p:nvSpPr>
        <p:spPr>
          <a:xfrm>
            <a:off x="6847472" y="3421751"/>
            <a:ext cx="3119211" cy="338554"/>
          </a:xfrm>
          <a:prstGeom prst="rect">
            <a:avLst/>
          </a:prstGeom>
          <a:noFill/>
        </p:spPr>
        <p:txBody>
          <a:bodyPr wrap="square" rtlCol="0">
            <a:spAutoFit/>
          </a:bodyPr>
          <a:lstStyle/>
          <a:p>
            <a:pPr algn="ctr"/>
            <a:r>
              <a:rPr lang="en-US" sz="1600"/>
              <a:t>Performance </a:t>
            </a:r>
            <a:r>
              <a:rPr lang="en-US" sz="1600">
                <a:solidFill>
                  <a:schemeClr val="accent2">
                    <a:lumMod val="75000"/>
                  </a:schemeClr>
                </a:solidFill>
              </a:rPr>
              <a:t>test</a:t>
            </a:r>
            <a:r>
              <a:rPr lang="en-US" sz="1600"/>
              <a:t> set</a:t>
            </a:r>
          </a:p>
        </p:txBody>
      </p:sp>
      <p:pic>
        <p:nvPicPr>
          <p:cNvPr id="12" name="Picture 11">
            <a:extLst>
              <a:ext uri="{FF2B5EF4-FFF2-40B4-BE49-F238E27FC236}">
                <a16:creationId xmlns:a16="http://schemas.microsoft.com/office/drawing/2014/main" id="{85ADD9A6-CD7A-C653-544B-9C3419417AF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094220" y="3933446"/>
            <a:ext cx="3126624" cy="2408036"/>
          </a:xfrm>
          <a:prstGeom prst="rect">
            <a:avLst/>
          </a:prstGeom>
        </p:spPr>
      </p:pic>
      <p:sp>
        <p:nvSpPr>
          <p:cNvPr id="13" name="TextBox 12">
            <a:extLst>
              <a:ext uri="{FF2B5EF4-FFF2-40B4-BE49-F238E27FC236}">
                <a16:creationId xmlns:a16="http://schemas.microsoft.com/office/drawing/2014/main" id="{741424E7-716E-A758-EA86-DD17483D72ED}"/>
              </a:ext>
            </a:extLst>
          </p:cNvPr>
          <p:cNvSpPr txBox="1"/>
          <p:nvPr/>
        </p:nvSpPr>
        <p:spPr>
          <a:xfrm>
            <a:off x="5259369" y="6364275"/>
            <a:ext cx="3119211" cy="338554"/>
          </a:xfrm>
          <a:prstGeom prst="rect">
            <a:avLst/>
          </a:prstGeom>
          <a:noFill/>
        </p:spPr>
        <p:txBody>
          <a:bodyPr wrap="square" rtlCol="0">
            <a:spAutoFit/>
          </a:bodyPr>
          <a:lstStyle/>
          <a:p>
            <a:pPr algn="ctr"/>
            <a:r>
              <a:rPr lang="en-US" sz="1600"/>
              <a:t>Performance </a:t>
            </a:r>
            <a:r>
              <a:rPr lang="en-US" sz="1600">
                <a:solidFill>
                  <a:srgbClr val="7030A0"/>
                </a:solidFill>
              </a:rPr>
              <a:t>train</a:t>
            </a:r>
            <a:r>
              <a:rPr lang="en-US" sz="1600"/>
              <a:t> set</a:t>
            </a:r>
          </a:p>
        </p:txBody>
      </p:sp>
      <p:pic>
        <p:nvPicPr>
          <p:cNvPr id="14" name="Picture 13">
            <a:extLst>
              <a:ext uri="{FF2B5EF4-FFF2-40B4-BE49-F238E27FC236}">
                <a16:creationId xmlns:a16="http://schemas.microsoft.com/office/drawing/2014/main" id="{13C3F13F-F854-DEB8-9795-32B563C93F6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670124" y="3958250"/>
            <a:ext cx="2930169" cy="2358429"/>
          </a:xfrm>
          <a:prstGeom prst="rect">
            <a:avLst/>
          </a:prstGeom>
        </p:spPr>
      </p:pic>
      <p:sp>
        <p:nvSpPr>
          <p:cNvPr id="15" name="TextBox 14">
            <a:extLst>
              <a:ext uri="{FF2B5EF4-FFF2-40B4-BE49-F238E27FC236}">
                <a16:creationId xmlns:a16="http://schemas.microsoft.com/office/drawing/2014/main" id="{ADC2C1C1-916A-E593-BB80-10BC7114DD29}"/>
              </a:ext>
            </a:extLst>
          </p:cNvPr>
          <p:cNvSpPr txBox="1"/>
          <p:nvPr/>
        </p:nvSpPr>
        <p:spPr>
          <a:xfrm>
            <a:off x="8695853" y="6364275"/>
            <a:ext cx="3119211" cy="338554"/>
          </a:xfrm>
          <a:prstGeom prst="rect">
            <a:avLst/>
          </a:prstGeom>
          <a:noFill/>
        </p:spPr>
        <p:txBody>
          <a:bodyPr wrap="square" rtlCol="0">
            <a:spAutoFit/>
          </a:bodyPr>
          <a:lstStyle/>
          <a:p>
            <a:pPr algn="ctr"/>
            <a:r>
              <a:rPr lang="en-US" sz="1600"/>
              <a:t>Performance </a:t>
            </a:r>
            <a:r>
              <a:rPr lang="en-US" sz="1600">
                <a:solidFill>
                  <a:schemeClr val="accent2">
                    <a:lumMod val="75000"/>
                  </a:schemeClr>
                </a:solidFill>
              </a:rPr>
              <a:t>test</a:t>
            </a:r>
            <a:r>
              <a:rPr lang="en-US" sz="1600"/>
              <a:t> set</a:t>
            </a:r>
          </a:p>
        </p:txBody>
      </p:sp>
      <p:pic>
        <p:nvPicPr>
          <p:cNvPr id="16" name="Picture 15">
            <a:extLst>
              <a:ext uri="{FF2B5EF4-FFF2-40B4-BE49-F238E27FC236}">
                <a16:creationId xmlns:a16="http://schemas.microsoft.com/office/drawing/2014/main" id="{BD2B7106-6C58-68BD-9780-79D3CE0C0B4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1808439" y="4005530"/>
            <a:ext cx="3126624" cy="2370899"/>
          </a:xfrm>
          <a:prstGeom prst="rect">
            <a:avLst/>
          </a:prstGeom>
        </p:spPr>
      </p:pic>
      <p:sp>
        <p:nvSpPr>
          <p:cNvPr id="17" name="TextBox 16">
            <a:extLst>
              <a:ext uri="{FF2B5EF4-FFF2-40B4-BE49-F238E27FC236}">
                <a16:creationId xmlns:a16="http://schemas.microsoft.com/office/drawing/2014/main" id="{471AA7B1-73DB-7CB8-74D1-D53FFC8BC5F9}"/>
              </a:ext>
            </a:extLst>
          </p:cNvPr>
          <p:cNvSpPr txBox="1"/>
          <p:nvPr/>
        </p:nvSpPr>
        <p:spPr>
          <a:xfrm>
            <a:off x="1815852" y="6364275"/>
            <a:ext cx="3119211" cy="338554"/>
          </a:xfrm>
          <a:prstGeom prst="rect">
            <a:avLst/>
          </a:prstGeom>
          <a:noFill/>
        </p:spPr>
        <p:txBody>
          <a:bodyPr wrap="square" rtlCol="0">
            <a:spAutoFit/>
          </a:bodyPr>
          <a:lstStyle/>
          <a:p>
            <a:pPr algn="ctr"/>
            <a:r>
              <a:rPr lang="en-US" sz="1600"/>
              <a:t>Learning Curve: MLP training</a:t>
            </a:r>
          </a:p>
        </p:txBody>
      </p:sp>
      <p:cxnSp>
        <p:nvCxnSpPr>
          <p:cNvPr id="22" name="Straight Connector 21">
            <a:extLst>
              <a:ext uri="{FF2B5EF4-FFF2-40B4-BE49-F238E27FC236}">
                <a16:creationId xmlns:a16="http://schemas.microsoft.com/office/drawing/2014/main" id="{1B0827BE-D4E1-47BF-4839-35FC96A07406}"/>
              </a:ext>
            </a:extLst>
          </p:cNvPr>
          <p:cNvCxnSpPr/>
          <p:nvPr/>
        </p:nvCxnSpPr>
        <p:spPr>
          <a:xfrm>
            <a:off x="201336" y="3833769"/>
            <a:ext cx="11752976" cy="0"/>
          </a:xfrm>
          <a:prstGeom prst="line">
            <a:avLst/>
          </a:prstGeom>
          <a:ln w="9525"/>
        </p:spPr>
        <p:style>
          <a:lnRef idx="1">
            <a:schemeClr val="dk1"/>
          </a:lnRef>
          <a:fillRef idx="0">
            <a:schemeClr val="dk1"/>
          </a:fillRef>
          <a:effectRef idx="0">
            <a:schemeClr val="dk1"/>
          </a:effectRef>
          <a:fontRef idx="minor">
            <a:schemeClr val="tx1"/>
          </a:fontRef>
        </p:style>
      </p:cxnSp>
      <p:pic>
        <p:nvPicPr>
          <p:cNvPr id="23" name="Picture 22">
            <a:extLst>
              <a:ext uri="{FF2B5EF4-FFF2-40B4-BE49-F238E27FC236}">
                <a16:creationId xmlns:a16="http://schemas.microsoft.com/office/drawing/2014/main" id="{2E82135A-B0F3-5B97-131F-16F643ACC49B}"/>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2964713" y="1119104"/>
            <a:ext cx="3107008" cy="2358429"/>
          </a:xfrm>
          <a:prstGeom prst="rect">
            <a:avLst/>
          </a:prstGeom>
        </p:spPr>
      </p:pic>
      <p:sp>
        <p:nvSpPr>
          <p:cNvPr id="3" name="Slide Number Placeholder 2">
            <a:extLst>
              <a:ext uri="{FF2B5EF4-FFF2-40B4-BE49-F238E27FC236}">
                <a16:creationId xmlns:a16="http://schemas.microsoft.com/office/drawing/2014/main" id="{B32175AB-1DB3-5446-7E5C-A305118EF0B3}"/>
              </a:ext>
            </a:extLst>
          </p:cNvPr>
          <p:cNvSpPr>
            <a:spLocks noGrp="1"/>
          </p:cNvSpPr>
          <p:nvPr>
            <p:ph type="sldNum" sz="quarter" idx="12"/>
          </p:nvPr>
        </p:nvSpPr>
        <p:spPr/>
        <p:txBody>
          <a:bodyPr/>
          <a:lstStyle/>
          <a:p>
            <a:fld id="{EEAD9179-7A6B-4268-BEB2-F3B8EB06115B}" type="slidenum">
              <a:rPr lang="en-US" noProof="0" smtClean="0"/>
              <a:t>40</a:t>
            </a:fld>
            <a:endParaRPr lang="en-US" noProof="0"/>
          </a:p>
        </p:txBody>
      </p:sp>
    </p:spTree>
    <p:extLst>
      <p:ext uri="{BB962C8B-B14F-4D97-AF65-F5344CB8AC3E}">
        <p14:creationId xmlns:p14="http://schemas.microsoft.com/office/powerpoint/2010/main" val="14733645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750" fill="hold"/>
                                        <p:tgtEl>
                                          <p:spTgt spid="7"/>
                                        </p:tgtEl>
                                        <p:attrNameLst>
                                          <p:attrName>ppt_x</p:attrName>
                                        </p:attrNameLst>
                                      </p:cBhvr>
                                      <p:tavLst>
                                        <p:tav tm="0">
                                          <p:val>
                                            <p:strVal val="#ppt_x"/>
                                          </p:val>
                                        </p:tav>
                                        <p:tav tm="100000">
                                          <p:val>
                                            <p:strVal val="#ppt_x"/>
                                          </p:val>
                                        </p:tav>
                                      </p:tavLst>
                                    </p:anim>
                                    <p:anim calcmode="lin" valueType="num">
                                      <p:cBhvr additive="base">
                                        <p:cTn id="8" dur="75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750" fill="hold"/>
                                        <p:tgtEl>
                                          <p:spTgt spid="12"/>
                                        </p:tgtEl>
                                        <p:attrNameLst>
                                          <p:attrName>ppt_x</p:attrName>
                                        </p:attrNameLst>
                                      </p:cBhvr>
                                      <p:tavLst>
                                        <p:tav tm="0">
                                          <p:val>
                                            <p:strVal val="#ppt_x"/>
                                          </p:val>
                                        </p:tav>
                                        <p:tav tm="100000">
                                          <p:val>
                                            <p:strVal val="#ppt_x"/>
                                          </p:val>
                                        </p:tav>
                                      </p:tavLst>
                                    </p:anim>
                                    <p:anim calcmode="lin" valueType="num">
                                      <p:cBhvr additive="base">
                                        <p:cTn id="12" dur="750" fill="hold"/>
                                        <p:tgtEl>
                                          <p:spTgt spid="12"/>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750" fill="hold"/>
                                        <p:tgtEl>
                                          <p:spTgt spid="13"/>
                                        </p:tgtEl>
                                        <p:attrNameLst>
                                          <p:attrName>ppt_x</p:attrName>
                                        </p:attrNameLst>
                                      </p:cBhvr>
                                      <p:tavLst>
                                        <p:tav tm="0">
                                          <p:val>
                                            <p:strVal val="#ppt_x"/>
                                          </p:val>
                                        </p:tav>
                                        <p:tav tm="100000">
                                          <p:val>
                                            <p:strVal val="#ppt_x"/>
                                          </p:val>
                                        </p:tav>
                                      </p:tavLst>
                                    </p:anim>
                                    <p:anim calcmode="lin" valueType="num">
                                      <p:cBhvr additive="base">
                                        <p:cTn id="16" dur="750" fill="hold"/>
                                        <p:tgtEl>
                                          <p:spTgt spid="13"/>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750" fill="hold"/>
                                        <p:tgtEl>
                                          <p:spTgt spid="14"/>
                                        </p:tgtEl>
                                        <p:attrNameLst>
                                          <p:attrName>ppt_x</p:attrName>
                                        </p:attrNameLst>
                                      </p:cBhvr>
                                      <p:tavLst>
                                        <p:tav tm="0">
                                          <p:val>
                                            <p:strVal val="#ppt_x"/>
                                          </p:val>
                                        </p:tav>
                                        <p:tav tm="100000">
                                          <p:val>
                                            <p:strVal val="#ppt_x"/>
                                          </p:val>
                                        </p:tav>
                                      </p:tavLst>
                                    </p:anim>
                                    <p:anim calcmode="lin" valueType="num">
                                      <p:cBhvr additive="base">
                                        <p:cTn id="20" dur="750" fill="hold"/>
                                        <p:tgtEl>
                                          <p:spTgt spid="14"/>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15"/>
                                        </p:tgtEl>
                                        <p:attrNameLst>
                                          <p:attrName>style.visibility</p:attrName>
                                        </p:attrNameLst>
                                      </p:cBhvr>
                                      <p:to>
                                        <p:strVal val="visible"/>
                                      </p:to>
                                    </p:set>
                                    <p:anim calcmode="lin" valueType="num">
                                      <p:cBhvr additive="base">
                                        <p:cTn id="23" dur="750" fill="hold"/>
                                        <p:tgtEl>
                                          <p:spTgt spid="15"/>
                                        </p:tgtEl>
                                        <p:attrNameLst>
                                          <p:attrName>ppt_x</p:attrName>
                                        </p:attrNameLst>
                                      </p:cBhvr>
                                      <p:tavLst>
                                        <p:tav tm="0">
                                          <p:val>
                                            <p:strVal val="#ppt_x"/>
                                          </p:val>
                                        </p:tav>
                                        <p:tav tm="100000">
                                          <p:val>
                                            <p:strVal val="#ppt_x"/>
                                          </p:val>
                                        </p:tav>
                                      </p:tavLst>
                                    </p:anim>
                                    <p:anim calcmode="lin" valueType="num">
                                      <p:cBhvr additive="base">
                                        <p:cTn id="24" dur="750" fill="hold"/>
                                        <p:tgtEl>
                                          <p:spTgt spid="15"/>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16"/>
                                        </p:tgtEl>
                                        <p:attrNameLst>
                                          <p:attrName>style.visibility</p:attrName>
                                        </p:attrNameLst>
                                      </p:cBhvr>
                                      <p:to>
                                        <p:strVal val="visible"/>
                                      </p:to>
                                    </p:set>
                                    <p:anim calcmode="lin" valueType="num">
                                      <p:cBhvr additive="base">
                                        <p:cTn id="27" dur="750" fill="hold"/>
                                        <p:tgtEl>
                                          <p:spTgt spid="16"/>
                                        </p:tgtEl>
                                        <p:attrNameLst>
                                          <p:attrName>ppt_x</p:attrName>
                                        </p:attrNameLst>
                                      </p:cBhvr>
                                      <p:tavLst>
                                        <p:tav tm="0">
                                          <p:val>
                                            <p:strVal val="#ppt_x"/>
                                          </p:val>
                                        </p:tav>
                                        <p:tav tm="100000">
                                          <p:val>
                                            <p:strVal val="#ppt_x"/>
                                          </p:val>
                                        </p:tav>
                                      </p:tavLst>
                                    </p:anim>
                                    <p:anim calcmode="lin" valueType="num">
                                      <p:cBhvr additive="base">
                                        <p:cTn id="28" dur="750" fill="hold"/>
                                        <p:tgtEl>
                                          <p:spTgt spid="16"/>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7"/>
                                        </p:tgtEl>
                                        <p:attrNameLst>
                                          <p:attrName>style.visibility</p:attrName>
                                        </p:attrNameLst>
                                      </p:cBhvr>
                                      <p:to>
                                        <p:strVal val="visible"/>
                                      </p:to>
                                    </p:set>
                                    <p:anim calcmode="lin" valueType="num">
                                      <p:cBhvr additive="base">
                                        <p:cTn id="31" dur="750" fill="hold"/>
                                        <p:tgtEl>
                                          <p:spTgt spid="17"/>
                                        </p:tgtEl>
                                        <p:attrNameLst>
                                          <p:attrName>ppt_x</p:attrName>
                                        </p:attrNameLst>
                                      </p:cBhvr>
                                      <p:tavLst>
                                        <p:tav tm="0">
                                          <p:val>
                                            <p:strVal val="#ppt_x"/>
                                          </p:val>
                                        </p:tav>
                                        <p:tav tm="100000">
                                          <p:val>
                                            <p:strVal val="#ppt_x"/>
                                          </p:val>
                                        </p:tav>
                                      </p:tavLst>
                                    </p:anim>
                                    <p:anim calcmode="lin" valueType="num">
                                      <p:cBhvr additive="base">
                                        <p:cTn id="32" dur="750" fill="hold"/>
                                        <p:tgtEl>
                                          <p:spTgt spid="17"/>
                                        </p:tgtEl>
                                        <p:attrNameLst>
                                          <p:attrName>ppt_y</p:attrName>
                                        </p:attrNameLst>
                                      </p:cBhvr>
                                      <p:tavLst>
                                        <p:tav tm="0">
                                          <p:val>
                                            <p:strVal val="1+#ppt_h/2"/>
                                          </p:val>
                                        </p:tav>
                                        <p:tav tm="100000">
                                          <p:val>
                                            <p:strVal val="#ppt_y"/>
                                          </p:val>
                                        </p:tav>
                                      </p:tavLst>
                                    </p:anim>
                                  </p:childTnLst>
                                </p:cTn>
                              </p:par>
                              <p:par>
                                <p:cTn id="33" presetID="16" presetClass="entr" presetSubtype="21" fill="hold" nodeType="withEffect">
                                  <p:stCondLst>
                                    <p:cond delay="0"/>
                                  </p:stCondLst>
                                  <p:childTnLst>
                                    <p:set>
                                      <p:cBhvr>
                                        <p:cTn id="34" dur="1" fill="hold">
                                          <p:stCondLst>
                                            <p:cond delay="0"/>
                                          </p:stCondLst>
                                        </p:cTn>
                                        <p:tgtEl>
                                          <p:spTgt spid="22"/>
                                        </p:tgtEl>
                                        <p:attrNameLst>
                                          <p:attrName>style.visibility</p:attrName>
                                        </p:attrNameLst>
                                      </p:cBhvr>
                                      <p:to>
                                        <p:strVal val="visible"/>
                                      </p:to>
                                    </p:set>
                                    <p:animEffect transition="in" filter="barn(inVertical)">
                                      <p:cBhvr>
                                        <p:cTn id="35"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3" grpId="0"/>
      <p:bldP spid="15" grpId="0"/>
      <p:bldP spid="17"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768194" y="289742"/>
            <a:ext cx="9144000" cy="7316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i="1" u="sng">
                <a:solidFill>
                  <a:schemeClr val="accent1">
                    <a:lumMod val="50000"/>
                  </a:schemeClr>
                </a:solidFill>
                <a:latin typeface="Calibri Light" panose="020F0302020204030204" pitchFamily="34" charset="0"/>
              </a:rPr>
              <a:t>ML Model Results : </a:t>
            </a:r>
            <a:r>
              <a:rPr lang="en-US" sz="4000" b="1" i="1" u="sng">
                <a:solidFill>
                  <a:schemeClr val="accent1">
                    <a:lumMod val="50000"/>
                  </a:schemeClr>
                </a:solidFill>
                <a:latin typeface="Calibri Light" panose="020F0302020204030204" pitchFamily="34" charset="0"/>
              </a:rPr>
              <a:t>Maximum Temperature</a:t>
            </a:r>
            <a:endParaRPr lang="en-US" sz="4000" b="1" i="1" u="sng">
              <a:solidFill>
                <a:schemeClr val="accent1">
                  <a:lumMod val="50000"/>
                </a:schemeClr>
              </a:solidFill>
            </a:endParaRPr>
          </a:p>
        </p:txBody>
      </p:sp>
      <p:cxnSp>
        <p:nvCxnSpPr>
          <p:cNvPr id="24" name="Straight Connector 23">
            <a:extLst>
              <a:ext uri="{FF2B5EF4-FFF2-40B4-BE49-F238E27FC236}">
                <a16:creationId xmlns:a16="http://schemas.microsoft.com/office/drawing/2014/main" id="{99D01E62-F77D-E62A-0C2D-824A66B5AD7B}"/>
              </a:ext>
            </a:extLst>
          </p:cNvPr>
          <p:cNvCxnSpPr>
            <a:cxnSpLocks/>
          </p:cNvCxnSpPr>
          <p:nvPr/>
        </p:nvCxnSpPr>
        <p:spPr>
          <a:xfrm>
            <a:off x="6096000" y="1686757"/>
            <a:ext cx="0" cy="4983876"/>
          </a:xfrm>
          <a:prstGeom prst="line">
            <a:avLst/>
          </a:prstGeom>
          <a:ln/>
        </p:spPr>
        <p:style>
          <a:lnRef idx="1">
            <a:schemeClr val="dk1"/>
          </a:lnRef>
          <a:fillRef idx="0">
            <a:schemeClr val="dk1"/>
          </a:fillRef>
          <a:effectRef idx="0">
            <a:schemeClr val="dk1"/>
          </a:effectRef>
          <a:fontRef idx="minor">
            <a:schemeClr val="tx1"/>
          </a:fontRef>
        </p:style>
      </p:cxnSp>
      <p:pic>
        <p:nvPicPr>
          <p:cNvPr id="4" name="Picture 3">
            <a:extLst>
              <a:ext uri="{FF2B5EF4-FFF2-40B4-BE49-F238E27FC236}">
                <a16:creationId xmlns:a16="http://schemas.microsoft.com/office/drawing/2014/main" id="{1B7C3091-DEA4-66D1-884C-6CB2FD58DBE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985617" y="4409627"/>
            <a:ext cx="2849310" cy="2250022"/>
          </a:xfrm>
          <a:prstGeom prst="rect">
            <a:avLst/>
          </a:prstGeom>
        </p:spPr>
      </p:pic>
      <p:pic>
        <p:nvPicPr>
          <p:cNvPr id="7" name="Picture 6">
            <a:extLst>
              <a:ext uri="{FF2B5EF4-FFF2-40B4-BE49-F238E27FC236}">
                <a16:creationId xmlns:a16="http://schemas.microsoft.com/office/drawing/2014/main" id="{B5713B37-2314-473A-D0AE-587C49D1AB7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908319" y="1830924"/>
            <a:ext cx="2903612" cy="2289810"/>
          </a:xfrm>
          <a:prstGeom prst="rect">
            <a:avLst/>
          </a:prstGeom>
        </p:spPr>
      </p:pic>
      <p:sp>
        <p:nvSpPr>
          <p:cNvPr id="2" name="Slide Number Placeholder 1">
            <a:extLst>
              <a:ext uri="{FF2B5EF4-FFF2-40B4-BE49-F238E27FC236}">
                <a16:creationId xmlns:a16="http://schemas.microsoft.com/office/drawing/2014/main" id="{D6F33AD6-BCD0-7BD2-5890-1C682DC785B4}"/>
              </a:ext>
            </a:extLst>
          </p:cNvPr>
          <p:cNvSpPr>
            <a:spLocks noGrp="1"/>
          </p:cNvSpPr>
          <p:nvPr>
            <p:ph type="sldNum" sz="quarter" idx="12"/>
          </p:nvPr>
        </p:nvSpPr>
        <p:spPr/>
        <p:txBody>
          <a:bodyPr/>
          <a:lstStyle/>
          <a:p>
            <a:fld id="{EEAD9179-7A6B-4268-BEB2-F3B8EB06115B}" type="slidenum">
              <a:rPr lang="en-US" noProof="0" smtClean="0"/>
              <a:t>41</a:t>
            </a:fld>
            <a:endParaRPr lang="en-US" noProof="0"/>
          </a:p>
        </p:txBody>
      </p:sp>
      <p:sp>
        <p:nvSpPr>
          <p:cNvPr id="5" name="TextBox 4">
            <a:extLst>
              <a:ext uri="{FF2B5EF4-FFF2-40B4-BE49-F238E27FC236}">
                <a16:creationId xmlns:a16="http://schemas.microsoft.com/office/drawing/2014/main" id="{BC1754F1-682A-BE94-E0A0-10CA6FA4AE0D}"/>
              </a:ext>
            </a:extLst>
          </p:cNvPr>
          <p:cNvSpPr txBox="1"/>
          <p:nvPr/>
        </p:nvSpPr>
        <p:spPr>
          <a:xfrm>
            <a:off x="768194" y="966722"/>
            <a:ext cx="10191565" cy="584775"/>
          </a:xfrm>
          <a:prstGeom prst="rect">
            <a:avLst/>
          </a:prstGeom>
          <a:noFill/>
        </p:spPr>
        <p:txBody>
          <a:bodyPr wrap="square" rtlCol="0">
            <a:spAutoFit/>
          </a:bodyPr>
          <a:lstStyle/>
          <a:p>
            <a:r>
              <a:rPr lang="en-US" sz="1600"/>
              <a:t>ML model performance for randomly selected dates from the test dataset shows better correlation between interpolated and observed </a:t>
            </a:r>
            <a:r>
              <a:rPr lang="en-US" sz="1600" u="sng"/>
              <a:t>Maximum Temperature</a:t>
            </a:r>
            <a:r>
              <a:rPr lang="en-US" sz="1600"/>
              <a:t> data.</a:t>
            </a:r>
            <a:endParaRPr lang="en-US" sz="1600" baseline="30000"/>
          </a:p>
        </p:txBody>
      </p:sp>
      <p:pic>
        <p:nvPicPr>
          <p:cNvPr id="6" name="Picture 5">
            <a:extLst>
              <a:ext uri="{FF2B5EF4-FFF2-40B4-BE49-F238E27FC236}">
                <a16:creationId xmlns:a16="http://schemas.microsoft.com/office/drawing/2014/main" id="{5E2191B3-98E6-B694-F261-D599E1961C3A}"/>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7870599" y="1840380"/>
            <a:ext cx="2905367" cy="2249552"/>
          </a:xfrm>
          <a:prstGeom prst="rect">
            <a:avLst/>
          </a:prstGeom>
        </p:spPr>
      </p:pic>
      <p:pic>
        <p:nvPicPr>
          <p:cNvPr id="8" name="Picture 7">
            <a:extLst>
              <a:ext uri="{FF2B5EF4-FFF2-40B4-BE49-F238E27FC236}">
                <a16:creationId xmlns:a16="http://schemas.microsoft.com/office/drawing/2014/main" id="{B9E0931F-AF13-AB52-802B-BAF25FB5B5C6}"/>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7888259" y="4398744"/>
            <a:ext cx="2905517" cy="2239444"/>
          </a:xfrm>
          <a:prstGeom prst="rect">
            <a:avLst/>
          </a:prstGeom>
        </p:spPr>
      </p:pic>
      <p:sp>
        <p:nvSpPr>
          <p:cNvPr id="13" name="TextBox 12">
            <a:extLst>
              <a:ext uri="{FF2B5EF4-FFF2-40B4-BE49-F238E27FC236}">
                <a16:creationId xmlns:a16="http://schemas.microsoft.com/office/drawing/2014/main" id="{038F1632-34AB-40CF-A0B0-8681105383B3}"/>
              </a:ext>
            </a:extLst>
          </p:cNvPr>
          <p:cNvSpPr txBox="1"/>
          <p:nvPr/>
        </p:nvSpPr>
        <p:spPr>
          <a:xfrm rot="16200000">
            <a:off x="33028" y="2815064"/>
            <a:ext cx="2733410" cy="584775"/>
          </a:xfrm>
          <a:prstGeom prst="rect">
            <a:avLst/>
          </a:prstGeom>
          <a:noFill/>
        </p:spPr>
        <p:txBody>
          <a:bodyPr wrap="square" rtlCol="0">
            <a:spAutoFit/>
          </a:bodyPr>
          <a:lstStyle/>
          <a:p>
            <a:pPr algn="ctr"/>
            <a:r>
              <a:rPr lang="en-US" sz="1600"/>
              <a:t>Scatter Plot before </a:t>
            </a:r>
          </a:p>
          <a:p>
            <a:pPr algn="ctr"/>
            <a:r>
              <a:rPr lang="en-US" sz="1600"/>
              <a:t>model (</a:t>
            </a:r>
            <a:r>
              <a:rPr lang="en-US" sz="1600" u="sng"/>
              <a:t>test</a:t>
            </a:r>
            <a:r>
              <a:rPr lang="en-US" sz="1600"/>
              <a:t> set)</a:t>
            </a:r>
          </a:p>
        </p:txBody>
      </p:sp>
      <p:sp>
        <p:nvSpPr>
          <p:cNvPr id="14" name="TextBox 13">
            <a:extLst>
              <a:ext uri="{FF2B5EF4-FFF2-40B4-BE49-F238E27FC236}">
                <a16:creationId xmlns:a16="http://schemas.microsoft.com/office/drawing/2014/main" id="{FD57BB42-3B18-E50B-CD21-93B14CD308B4}"/>
              </a:ext>
            </a:extLst>
          </p:cNvPr>
          <p:cNvSpPr txBox="1"/>
          <p:nvPr/>
        </p:nvSpPr>
        <p:spPr>
          <a:xfrm rot="16200000">
            <a:off x="33029" y="5242251"/>
            <a:ext cx="2733410" cy="584775"/>
          </a:xfrm>
          <a:prstGeom prst="rect">
            <a:avLst/>
          </a:prstGeom>
          <a:noFill/>
        </p:spPr>
        <p:txBody>
          <a:bodyPr wrap="square" rtlCol="0">
            <a:spAutoFit/>
          </a:bodyPr>
          <a:lstStyle/>
          <a:p>
            <a:pPr algn="ctr"/>
            <a:r>
              <a:rPr lang="en-US" sz="1600">
                <a:solidFill>
                  <a:srgbClr val="00B050"/>
                </a:solidFill>
              </a:rPr>
              <a:t>Scatter Plot after ML </a:t>
            </a:r>
          </a:p>
          <a:p>
            <a:pPr algn="ctr"/>
            <a:r>
              <a:rPr lang="en-US" sz="1600">
                <a:solidFill>
                  <a:srgbClr val="00B050"/>
                </a:solidFill>
              </a:rPr>
              <a:t>model (</a:t>
            </a:r>
            <a:r>
              <a:rPr lang="en-US" sz="1600" u="sng">
                <a:solidFill>
                  <a:srgbClr val="00B050"/>
                </a:solidFill>
              </a:rPr>
              <a:t>test</a:t>
            </a:r>
            <a:r>
              <a:rPr lang="en-US" sz="1600">
                <a:solidFill>
                  <a:srgbClr val="00B050"/>
                </a:solidFill>
              </a:rPr>
              <a:t> set)</a:t>
            </a:r>
          </a:p>
        </p:txBody>
      </p:sp>
      <p:sp>
        <p:nvSpPr>
          <p:cNvPr id="17" name="TextBox 16">
            <a:extLst>
              <a:ext uri="{FF2B5EF4-FFF2-40B4-BE49-F238E27FC236}">
                <a16:creationId xmlns:a16="http://schemas.microsoft.com/office/drawing/2014/main" id="{3A10F1A5-1B40-27F3-9354-F125F4A01313}"/>
              </a:ext>
            </a:extLst>
          </p:cNvPr>
          <p:cNvSpPr txBox="1"/>
          <p:nvPr/>
        </p:nvSpPr>
        <p:spPr>
          <a:xfrm rot="16200000">
            <a:off x="5774800" y="2815064"/>
            <a:ext cx="2733410" cy="584775"/>
          </a:xfrm>
          <a:prstGeom prst="rect">
            <a:avLst/>
          </a:prstGeom>
          <a:noFill/>
        </p:spPr>
        <p:txBody>
          <a:bodyPr wrap="square" rtlCol="0">
            <a:spAutoFit/>
          </a:bodyPr>
          <a:lstStyle/>
          <a:p>
            <a:pPr algn="ctr"/>
            <a:r>
              <a:rPr lang="en-US" sz="1600"/>
              <a:t>Scatter Plot before </a:t>
            </a:r>
          </a:p>
          <a:p>
            <a:pPr algn="ctr"/>
            <a:r>
              <a:rPr lang="en-US" sz="1600"/>
              <a:t>model (</a:t>
            </a:r>
            <a:r>
              <a:rPr lang="en-US" sz="1600" u="sng"/>
              <a:t>test</a:t>
            </a:r>
            <a:r>
              <a:rPr lang="en-US" sz="1600"/>
              <a:t> set)</a:t>
            </a:r>
          </a:p>
        </p:txBody>
      </p:sp>
      <p:sp>
        <p:nvSpPr>
          <p:cNvPr id="18" name="TextBox 17">
            <a:extLst>
              <a:ext uri="{FF2B5EF4-FFF2-40B4-BE49-F238E27FC236}">
                <a16:creationId xmlns:a16="http://schemas.microsoft.com/office/drawing/2014/main" id="{D9B37AFE-AEA7-3084-AE1A-7A1906B7EEC8}"/>
              </a:ext>
            </a:extLst>
          </p:cNvPr>
          <p:cNvSpPr txBox="1"/>
          <p:nvPr/>
        </p:nvSpPr>
        <p:spPr>
          <a:xfrm rot="16200000">
            <a:off x="5774800" y="5242250"/>
            <a:ext cx="2733410" cy="584775"/>
          </a:xfrm>
          <a:prstGeom prst="rect">
            <a:avLst/>
          </a:prstGeom>
          <a:noFill/>
        </p:spPr>
        <p:txBody>
          <a:bodyPr wrap="square" rtlCol="0">
            <a:spAutoFit/>
          </a:bodyPr>
          <a:lstStyle/>
          <a:p>
            <a:pPr algn="ctr"/>
            <a:r>
              <a:rPr lang="en-US" sz="1600">
                <a:solidFill>
                  <a:srgbClr val="00B050"/>
                </a:solidFill>
              </a:rPr>
              <a:t>Scatter Plot after ML </a:t>
            </a:r>
          </a:p>
          <a:p>
            <a:pPr algn="ctr"/>
            <a:r>
              <a:rPr lang="en-US" sz="1600">
                <a:solidFill>
                  <a:srgbClr val="00B050"/>
                </a:solidFill>
              </a:rPr>
              <a:t>model (</a:t>
            </a:r>
            <a:r>
              <a:rPr lang="en-US" sz="1600" u="sng">
                <a:solidFill>
                  <a:srgbClr val="00B050"/>
                </a:solidFill>
              </a:rPr>
              <a:t>test</a:t>
            </a:r>
            <a:r>
              <a:rPr lang="en-US" sz="1600">
                <a:solidFill>
                  <a:srgbClr val="00B050"/>
                </a:solidFill>
              </a:rPr>
              <a:t> set)</a:t>
            </a:r>
          </a:p>
        </p:txBody>
      </p:sp>
    </p:spTree>
    <p:extLst>
      <p:ext uri="{BB962C8B-B14F-4D97-AF65-F5344CB8AC3E}">
        <p14:creationId xmlns:p14="http://schemas.microsoft.com/office/powerpoint/2010/main" val="42495852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1000"/>
                                        <p:tgtEl>
                                          <p:spTgt spid="24"/>
                                        </p:tgtEl>
                                      </p:cBhvr>
                                    </p:animEffect>
                                    <p:anim calcmode="lin" valueType="num">
                                      <p:cBhvr>
                                        <p:cTn id="8" dur="1000" fill="hold"/>
                                        <p:tgtEl>
                                          <p:spTgt spid="24"/>
                                        </p:tgtEl>
                                        <p:attrNameLst>
                                          <p:attrName>ppt_x</p:attrName>
                                        </p:attrNameLst>
                                      </p:cBhvr>
                                      <p:tavLst>
                                        <p:tav tm="0">
                                          <p:val>
                                            <p:strVal val="#ppt_x"/>
                                          </p:val>
                                        </p:tav>
                                        <p:tav tm="100000">
                                          <p:val>
                                            <p:strVal val="#ppt_x"/>
                                          </p:val>
                                        </p:tav>
                                      </p:tavLst>
                                    </p:anim>
                                    <p:anim calcmode="lin" valueType="num">
                                      <p:cBhvr>
                                        <p:cTn id="9" dur="1000" fill="hold"/>
                                        <p:tgtEl>
                                          <p:spTgt spid="24"/>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1000"/>
                                        <p:tgtEl>
                                          <p:spTgt spid="6"/>
                                        </p:tgtEl>
                                      </p:cBhvr>
                                    </p:animEffect>
                                    <p:anim calcmode="lin" valueType="num">
                                      <p:cBhvr>
                                        <p:cTn id="13" dur="1000" fill="hold"/>
                                        <p:tgtEl>
                                          <p:spTgt spid="6"/>
                                        </p:tgtEl>
                                        <p:attrNameLst>
                                          <p:attrName>ppt_x</p:attrName>
                                        </p:attrNameLst>
                                      </p:cBhvr>
                                      <p:tavLst>
                                        <p:tav tm="0">
                                          <p:val>
                                            <p:strVal val="#ppt_x"/>
                                          </p:val>
                                        </p:tav>
                                        <p:tav tm="100000">
                                          <p:val>
                                            <p:strVal val="#ppt_x"/>
                                          </p:val>
                                        </p:tav>
                                      </p:tavLst>
                                    </p:anim>
                                    <p:anim calcmode="lin" valueType="num">
                                      <p:cBhvr>
                                        <p:cTn id="14" dur="1000" fill="hold"/>
                                        <p:tgtEl>
                                          <p:spTgt spid="6"/>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1000"/>
                                        <p:tgtEl>
                                          <p:spTgt spid="8"/>
                                        </p:tgtEl>
                                      </p:cBhvr>
                                    </p:animEffect>
                                    <p:anim calcmode="lin" valueType="num">
                                      <p:cBhvr>
                                        <p:cTn id="18" dur="1000" fill="hold"/>
                                        <p:tgtEl>
                                          <p:spTgt spid="8"/>
                                        </p:tgtEl>
                                        <p:attrNameLst>
                                          <p:attrName>ppt_x</p:attrName>
                                        </p:attrNameLst>
                                      </p:cBhvr>
                                      <p:tavLst>
                                        <p:tav tm="0">
                                          <p:val>
                                            <p:strVal val="#ppt_x"/>
                                          </p:val>
                                        </p:tav>
                                        <p:tav tm="100000">
                                          <p:val>
                                            <p:strVal val="#ppt_x"/>
                                          </p:val>
                                        </p:tav>
                                      </p:tavLst>
                                    </p:anim>
                                    <p:anim calcmode="lin" valueType="num">
                                      <p:cBhvr>
                                        <p:cTn id="19" dur="1000" fill="hold"/>
                                        <p:tgtEl>
                                          <p:spTgt spid="8"/>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1000"/>
                                        <p:tgtEl>
                                          <p:spTgt spid="17"/>
                                        </p:tgtEl>
                                      </p:cBhvr>
                                    </p:animEffect>
                                    <p:anim calcmode="lin" valueType="num">
                                      <p:cBhvr>
                                        <p:cTn id="23" dur="1000" fill="hold"/>
                                        <p:tgtEl>
                                          <p:spTgt spid="17"/>
                                        </p:tgtEl>
                                        <p:attrNameLst>
                                          <p:attrName>ppt_x</p:attrName>
                                        </p:attrNameLst>
                                      </p:cBhvr>
                                      <p:tavLst>
                                        <p:tav tm="0">
                                          <p:val>
                                            <p:strVal val="#ppt_x"/>
                                          </p:val>
                                        </p:tav>
                                        <p:tav tm="100000">
                                          <p:val>
                                            <p:strVal val="#ppt_x"/>
                                          </p:val>
                                        </p:tav>
                                      </p:tavLst>
                                    </p:anim>
                                    <p:anim calcmode="lin" valueType="num">
                                      <p:cBhvr>
                                        <p:cTn id="24" dur="1000" fill="hold"/>
                                        <p:tgtEl>
                                          <p:spTgt spid="17"/>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fade">
                                      <p:cBhvr>
                                        <p:cTn id="27" dur="1000"/>
                                        <p:tgtEl>
                                          <p:spTgt spid="18"/>
                                        </p:tgtEl>
                                      </p:cBhvr>
                                    </p:animEffect>
                                    <p:anim calcmode="lin" valueType="num">
                                      <p:cBhvr>
                                        <p:cTn id="28" dur="1000" fill="hold"/>
                                        <p:tgtEl>
                                          <p:spTgt spid="18"/>
                                        </p:tgtEl>
                                        <p:attrNameLst>
                                          <p:attrName>ppt_x</p:attrName>
                                        </p:attrNameLst>
                                      </p:cBhvr>
                                      <p:tavLst>
                                        <p:tav tm="0">
                                          <p:val>
                                            <p:strVal val="#ppt_x"/>
                                          </p:val>
                                        </p:tav>
                                        <p:tav tm="100000">
                                          <p:val>
                                            <p:strVal val="#ppt_x"/>
                                          </p:val>
                                        </p:tav>
                                      </p:tavLst>
                                    </p:anim>
                                    <p:anim calcmode="lin" valueType="num">
                                      <p:cBhvr>
                                        <p:cTn id="29"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768194" y="289742"/>
            <a:ext cx="9144000" cy="7316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i="1" u="sng">
                <a:solidFill>
                  <a:schemeClr val="accent1">
                    <a:lumMod val="50000"/>
                  </a:schemeClr>
                </a:solidFill>
                <a:latin typeface="Calibri Light" panose="020F0302020204030204" pitchFamily="34" charset="0"/>
              </a:rPr>
              <a:t>ML/DL Model Results : </a:t>
            </a:r>
            <a:r>
              <a:rPr lang="en-US" sz="4000" b="1" i="1" u="sng">
                <a:solidFill>
                  <a:schemeClr val="accent1">
                    <a:lumMod val="50000"/>
                  </a:schemeClr>
                </a:solidFill>
                <a:latin typeface="Calibri Light" panose="020F0302020204030204" pitchFamily="34" charset="0"/>
              </a:rPr>
              <a:t>R2 comparison</a:t>
            </a:r>
            <a:endParaRPr lang="en-US" sz="4000" b="1" i="1" u="sng">
              <a:solidFill>
                <a:schemeClr val="accent1">
                  <a:lumMod val="50000"/>
                </a:schemeClr>
              </a:solidFill>
            </a:endParaRPr>
          </a:p>
        </p:txBody>
      </p:sp>
      <p:sp>
        <p:nvSpPr>
          <p:cNvPr id="3" name="Slide Number Placeholder 2">
            <a:extLst>
              <a:ext uri="{FF2B5EF4-FFF2-40B4-BE49-F238E27FC236}">
                <a16:creationId xmlns:a16="http://schemas.microsoft.com/office/drawing/2014/main" id="{8F7366FC-D57D-85C7-3D1E-27B86798B5B2}"/>
              </a:ext>
            </a:extLst>
          </p:cNvPr>
          <p:cNvSpPr>
            <a:spLocks noGrp="1"/>
          </p:cNvSpPr>
          <p:nvPr>
            <p:ph type="sldNum" sz="quarter" idx="12"/>
          </p:nvPr>
        </p:nvSpPr>
        <p:spPr/>
        <p:txBody>
          <a:bodyPr/>
          <a:lstStyle/>
          <a:p>
            <a:fld id="{EEAD9179-7A6B-4268-BEB2-F3B8EB06115B}" type="slidenum">
              <a:rPr lang="en-US" noProof="0" smtClean="0"/>
              <a:t>42</a:t>
            </a:fld>
            <a:endParaRPr lang="en-US" noProof="0"/>
          </a:p>
        </p:txBody>
      </p:sp>
      <p:graphicFrame>
        <p:nvGraphicFramePr>
          <p:cNvPr id="5" name="Table 5">
            <a:extLst>
              <a:ext uri="{FF2B5EF4-FFF2-40B4-BE49-F238E27FC236}">
                <a16:creationId xmlns:a16="http://schemas.microsoft.com/office/drawing/2014/main" id="{8954F76B-D164-244F-57F5-54AA63A6742C}"/>
              </a:ext>
            </a:extLst>
          </p:cNvPr>
          <p:cNvGraphicFramePr>
            <a:graphicFrameLocks noGrp="1"/>
          </p:cNvGraphicFramePr>
          <p:nvPr>
            <p:extLst>
              <p:ext uri="{D42A27DB-BD31-4B8C-83A1-F6EECF244321}">
                <p14:modId xmlns:p14="http://schemas.microsoft.com/office/powerpoint/2010/main" val="3031051340"/>
              </p:ext>
            </p:extLst>
          </p:nvPr>
        </p:nvGraphicFramePr>
        <p:xfrm>
          <a:off x="842391" y="1349979"/>
          <a:ext cx="10840627" cy="4311392"/>
        </p:xfrm>
        <a:graphic>
          <a:graphicData uri="http://schemas.openxmlformats.org/drawingml/2006/table">
            <a:tbl>
              <a:tblPr firstRow="1" bandRow="1">
                <a:tableStyleId>{F5AB1C69-6EDB-4FF4-983F-18BD219EF322}</a:tableStyleId>
              </a:tblPr>
              <a:tblGrid>
                <a:gridCol w="1548661">
                  <a:extLst>
                    <a:ext uri="{9D8B030D-6E8A-4147-A177-3AD203B41FA5}">
                      <a16:colId xmlns:a16="http://schemas.microsoft.com/office/drawing/2014/main" val="3235365019"/>
                    </a:ext>
                  </a:extLst>
                </a:gridCol>
                <a:gridCol w="1548661">
                  <a:extLst>
                    <a:ext uri="{9D8B030D-6E8A-4147-A177-3AD203B41FA5}">
                      <a16:colId xmlns:a16="http://schemas.microsoft.com/office/drawing/2014/main" val="441801857"/>
                    </a:ext>
                  </a:extLst>
                </a:gridCol>
                <a:gridCol w="1548661">
                  <a:extLst>
                    <a:ext uri="{9D8B030D-6E8A-4147-A177-3AD203B41FA5}">
                      <a16:colId xmlns:a16="http://schemas.microsoft.com/office/drawing/2014/main" val="2603983797"/>
                    </a:ext>
                  </a:extLst>
                </a:gridCol>
                <a:gridCol w="1548661">
                  <a:extLst>
                    <a:ext uri="{9D8B030D-6E8A-4147-A177-3AD203B41FA5}">
                      <a16:colId xmlns:a16="http://schemas.microsoft.com/office/drawing/2014/main" val="2860698765"/>
                    </a:ext>
                  </a:extLst>
                </a:gridCol>
                <a:gridCol w="1548661">
                  <a:extLst>
                    <a:ext uri="{9D8B030D-6E8A-4147-A177-3AD203B41FA5}">
                      <a16:colId xmlns:a16="http://schemas.microsoft.com/office/drawing/2014/main" val="1946521432"/>
                    </a:ext>
                  </a:extLst>
                </a:gridCol>
                <a:gridCol w="1548661">
                  <a:extLst>
                    <a:ext uri="{9D8B030D-6E8A-4147-A177-3AD203B41FA5}">
                      <a16:colId xmlns:a16="http://schemas.microsoft.com/office/drawing/2014/main" val="2338884941"/>
                    </a:ext>
                  </a:extLst>
                </a:gridCol>
                <a:gridCol w="1548661">
                  <a:extLst>
                    <a:ext uri="{9D8B030D-6E8A-4147-A177-3AD203B41FA5}">
                      <a16:colId xmlns:a16="http://schemas.microsoft.com/office/drawing/2014/main" val="490725438"/>
                    </a:ext>
                  </a:extLst>
                </a:gridCol>
              </a:tblGrid>
              <a:tr h="819330">
                <a:tc>
                  <a:txBody>
                    <a:bodyPr/>
                    <a:lstStyle/>
                    <a:p>
                      <a:pPr algn="ctr"/>
                      <a:r>
                        <a:rPr lang="en-US">
                          <a:solidFill>
                            <a:schemeClr val="tx1"/>
                          </a:solidFill>
                        </a:rPr>
                        <a:t>Variable</a:t>
                      </a:r>
                    </a:p>
                  </a:txBody>
                  <a:tcPr anchor="ctr"/>
                </a:tc>
                <a:tc>
                  <a:txBody>
                    <a:bodyPr/>
                    <a:lstStyle/>
                    <a:p>
                      <a:pPr algn="ctr"/>
                      <a:r>
                        <a:rPr lang="en-US">
                          <a:solidFill>
                            <a:schemeClr val="tx1"/>
                          </a:solidFill>
                        </a:rPr>
                        <a:t>Days in Test Dataset</a:t>
                      </a:r>
                    </a:p>
                  </a:txBody>
                  <a:tcPr anchor="ctr"/>
                </a:tc>
                <a:tc>
                  <a:txBody>
                    <a:bodyPr/>
                    <a:lstStyle/>
                    <a:p>
                      <a:pPr algn="ctr"/>
                      <a:r>
                        <a:rPr lang="en-US">
                          <a:solidFill>
                            <a:schemeClr val="accent2">
                              <a:lumMod val="75000"/>
                            </a:schemeClr>
                          </a:solidFill>
                        </a:rPr>
                        <a:t>Negative R2</a:t>
                      </a:r>
                    </a:p>
                    <a:p>
                      <a:pPr algn="ctr"/>
                      <a:r>
                        <a:rPr lang="en-US">
                          <a:solidFill>
                            <a:schemeClr val="accent2">
                              <a:lumMod val="75000"/>
                            </a:schemeClr>
                          </a:solidFill>
                        </a:rPr>
                        <a:t>before model</a:t>
                      </a:r>
                    </a:p>
                    <a:p>
                      <a:pPr algn="ctr"/>
                      <a:r>
                        <a:rPr lang="en-US">
                          <a:solidFill>
                            <a:schemeClr val="accent2">
                              <a:lumMod val="75000"/>
                            </a:schemeClr>
                          </a:solidFill>
                        </a:rPr>
                        <a:t>(days)</a:t>
                      </a:r>
                    </a:p>
                  </a:txBody>
                  <a:tcPr anchor="ctr"/>
                </a:tc>
                <a:tc>
                  <a:txBody>
                    <a:bodyPr/>
                    <a:lstStyle/>
                    <a:p>
                      <a:pPr algn="ctr"/>
                      <a:r>
                        <a:rPr lang="en-US">
                          <a:solidFill>
                            <a:schemeClr val="accent5">
                              <a:lumMod val="75000"/>
                            </a:schemeClr>
                          </a:solidFill>
                        </a:rPr>
                        <a:t>Negative R2</a:t>
                      </a:r>
                    </a:p>
                    <a:p>
                      <a:pPr algn="ctr"/>
                      <a:r>
                        <a:rPr lang="en-US">
                          <a:solidFill>
                            <a:schemeClr val="accent5">
                              <a:lumMod val="75000"/>
                            </a:schemeClr>
                          </a:solidFill>
                        </a:rPr>
                        <a:t>after model</a:t>
                      </a:r>
                    </a:p>
                    <a:p>
                      <a:pPr algn="ctr"/>
                      <a:r>
                        <a:rPr lang="en-US">
                          <a:solidFill>
                            <a:schemeClr val="accent5">
                              <a:lumMod val="75000"/>
                            </a:schemeClr>
                          </a:solidFill>
                        </a:rPr>
                        <a:t>(days)</a:t>
                      </a:r>
                    </a:p>
                  </a:txBody>
                  <a:tcPr anchor="ctr"/>
                </a:tc>
                <a:tc>
                  <a:txBody>
                    <a:bodyPr/>
                    <a:lstStyle/>
                    <a:p>
                      <a:pPr algn="ctr"/>
                      <a:r>
                        <a:rPr lang="en-US">
                          <a:solidFill>
                            <a:schemeClr val="accent5">
                              <a:lumMod val="75000"/>
                            </a:schemeClr>
                          </a:solidFill>
                        </a:rPr>
                        <a:t>R2 &gt; 0.3</a:t>
                      </a:r>
                    </a:p>
                    <a:p>
                      <a:pPr algn="ctr"/>
                      <a:r>
                        <a:rPr lang="en-US">
                          <a:solidFill>
                            <a:schemeClr val="accent5">
                              <a:lumMod val="75000"/>
                            </a:schemeClr>
                          </a:solidFill>
                        </a:rPr>
                        <a:t>after model</a:t>
                      </a:r>
                    </a:p>
                    <a:p>
                      <a:pPr algn="ctr"/>
                      <a:r>
                        <a:rPr lang="en-US">
                          <a:solidFill>
                            <a:schemeClr val="accent5">
                              <a:lumMod val="75000"/>
                            </a:schemeClr>
                          </a:solidFill>
                        </a:rPr>
                        <a:t>(days)</a:t>
                      </a:r>
                    </a:p>
                  </a:txBody>
                  <a:tcPr anchor="ctr"/>
                </a:tc>
                <a:tc>
                  <a:txBody>
                    <a:bodyPr/>
                    <a:lstStyle/>
                    <a:p>
                      <a:pPr algn="ctr"/>
                      <a:r>
                        <a:rPr lang="en-US">
                          <a:solidFill>
                            <a:schemeClr val="accent5">
                              <a:lumMod val="75000"/>
                            </a:schemeClr>
                          </a:solidFill>
                        </a:rPr>
                        <a:t>R2 &gt; 0.5</a:t>
                      </a:r>
                    </a:p>
                    <a:p>
                      <a:pPr algn="ctr"/>
                      <a:r>
                        <a:rPr lang="en-US">
                          <a:solidFill>
                            <a:schemeClr val="accent5">
                              <a:lumMod val="75000"/>
                            </a:schemeClr>
                          </a:solidFill>
                        </a:rPr>
                        <a:t>after model</a:t>
                      </a:r>
                    </a:p>
                    <a:p>
                      <a:pPr algn="ctr"/>
                      <a:r>
                        <a:rPr lang="en-US">
                          <a:solidFill>
                            <a:schemeClr val="accent5">
                              <a:lumMod val="75000"/>
                            </a:schemeClr>
                          </a:solidFill>
                        </a:rPr>
                        <a:t>(days)</a:t>
                      </a:r>
                    </a:p>
                  </a:txBody>
                  <a:tcPr anchor="ctr"/>
                </a:tc>
                <a:tc>
                  <a:txBody>
                    <a:bodyPr/>
                    <a:lstStyle/>
                    <a:p>
                      <a:pPr algn="ctr"/>
                      <a:r>
                        <a:rPr lang="en-US">
                          <a:solidFill>
                            <a:schemeClr val="accent5">
                              <a:lumMod val="75000"/>
                            </a:schemeClr>
                          </a:solidFill>
                        </a:rPr>
                        <a:t>R2 &gt; 0.6</a:t>
                      </a:r>
                    </a:p>
                    <a:p>
                      <a:pPr algn="ctr"/>
                      <a:r>
                        <a:rPr lang="en-US">
                          <a:solidFill>
                            <a:schemeClr val="accent5">
                              <a:lumMod val="75000"/>
                            </a:schemeClr>
                          </a:solidFill>
                        </a:rPr>
                        <a:t>after model</a:t>
                      </a:r>
                    </a:p>
                    <a:p>
                      <a:pPr algn="ctr"/>
                      <a:r>
                        <a:rPr lang="en-US">
                          <a:solidFill>
                            <a:schemeClr val="accent5">
                              <a:lumMod val="75000"/>
                            </a:schemeClr>
                          </a:solidFill>
                        </a:rPr>
                        <a:t>(days)</a:t>
                      </a:r>
                    </a:p>
                  </a:txBody>
                  <a:tcPr anchor="ctr"/>
                </a:tc>
                <a:extLst>
                  <a:ext uri="{0D108BD9-81ED-4DB2-BD59-A6C34878D82A}">
                    <a16:rowId xmlns:a16="http://schemas.microsoft.com/office/drawing/2014/main" val="976304130"/>
                  </a:ext>
                </a:extLst>
              </a:tr>
              <a:tr h="849248">
                <a:tc>
                  <a:txBody>
                    <a:bodyPr/>
                    <a:lstStyle/>
                    <a:p>
                      <a:pPr algn="ctr"/>
                      <a:r>
                        <a:rPr lang="en-US" sz="1600">
                          <a:solidFill>
                            <a:schemeClr val="tx1"/>
                          </a:solidFill>
                        </a:rPr>
                        <a:t>Avg Wind Speed</a:t>
                      </a:r>
                    </a:p>
                  </a:txBody>
                  <a:tcPr anchor="ctr"/>
                </a:tc>
                <a:tc>
                  <a:txBody>
                    <a:bodyPr/>
                    <a:lstStyle/>
                    <a:p>
                      <a:pPr algn="ctr"/>
                      <a:r>
                        <a:rPr lang="en-US">
                          <a:solidFill>
                            <a:schemeClr val="tx1"/>
                          </a:solidFill>
                        </a:rPr>
                        <a:t>572</a:t>
                      </a:r>
                    </a:p>
                  </a:txBody>
                  <a:tcPr anchor="ctr"/>
                </a:tc>
                <a:tc>
                  <a:txBody>
                    <a:bodyPr/>
                    <a:lstStyle/>
                    <a:p>
                      <a:pPr algn="ctr"/>
                      <a:r>
                        <a:rPr lang="en-US">
                          <a:solidFill>
                            <a:schemeClr val="accent2">
                              <a:lumMod val="75000"/>
                            </a:schemeClr>
                          </a:solidFill>
                        </a:rPr>
                        <a:t>437</a:t>
                      </a:r>
                    </a:p>
                  </a:txBody>
                  <a:tcPr anchor="ctr"/>
                </a:tc>
                <a:tc>
                  <a:txBody>
                    <a:bodyPr/>
                    <a:lstStyle/>
                    <a:p>
                      <a:pPr algn="ctr"/>
                      <a:r>
                        <a:rPr lang="en-US">
                          <a:solidFill>
                            <a:schemeClr val="accent5">
                              <a:lumMod val="75000"/>
                            </a:schemeClr>
                          </a:solidFill>
                        </a:rPr>
                        <a:t>61</a:t>
                      </a:r>
                    </a:p>
                  </a:txBody>
                  <a:tcPr anchor="ctr"/>
                </a:tc>
                <a:tc>
                  <a:txBody>
                    <a:bodyPr/>
                    <a:lstStyle/>
                    <a:p>
                      <a:pPr algn="ctr"/>
                      <a:r>
                        <a:rPr lang="en-US">
                          <a:solidFill>
                            <a:schemeClr val="accent5">
                              <a:lumMod val="75000"/>
                            </a:schemeClr>
                          </a:solidFill>
                        </a:rPr>
                        <a:t>455</a:t>
                      </a:r>
                    </a:p>
                  </a:txBody>
                  <a:tcPr anchor="ctr"/>
                </a:tc>
                <a:tc>
                  <a:txBody>
                    <a:bodyPr/>
                    <a:lstStyle/>
                    <a:p>
                      <a:pPr algn="ctr"/>
                      <a:r>
                        <a:rPr lang="en-US">
                          <a:solidFill>
                            <a:schemeClr val="accent5">
                              <a:lumMod val="75000"/>
                            </a:schemeClr>
                          </a:solidFill>
                        </a:rPr>
                        <a:t>386</a:t>
                      </a:r>
                    </a:p>
                  </a:txBody>
                  <a:tcPr anchor="ctr"/>
                </a:tc>
                <a:tc>
                  <a:txBody>
                    <a:bodyPr/>
                    <a:lstStyle/>
                    <a:p>
                      <a:pPr algn="ctr"/>
                      <a:r>
                        <a:rPr lang="en-US">
                          <a:solidFill>
                            <a:schemeClr val="accent5">
                              <a:lumMod val="75000"/>
                            </a:schemeClr>
                          </a:solidFill>
                        </a:rPr>
                        <a:t>334</a:t>
                      </a:r>
                    </a:p>
                  </a:txBody>
                  <a:tcPr anchor="ctr"/>
                </a:tc>
                <a:extLst>
                  <a:ext uri="{0D108BD9-81ED-4DB2-BD59-A6C34878D82A}">
                    <a16:rowId xmlns:a16="http://schemas.microsoft.com/office/drawing/2014/main" val="3715536421"/>
                  </a:ext>
                </a:extLst>
              </a:tr>
              <a:tr h="849248">
                <a:tc>
                  <a:txBody>
                    <a:bodyPr/>
                    <a:lstStyle/>
                    <a:p>
                      <a:pPr algn="ctr"/>
                      <a:r>
                        <a:rPr lang="en-US" sz="1600">
                          <a:solidFill>
                            <a:schemeClr val="tx1"/>
                          </a:solidFill>
                        </a:rPr>
                        <a:t>Avg Rel Humidity</a:t>
                      </a:r>
                    </a:p>
                  </a:txBody>
                  <a:tcPr anchor="ctr"/>
                </a:tc>
                <a:tc>
                  <a:txBody>
                    <a:bodyPr/>
                    <a:lstStyle/>
                    <a:p>
                      <a:pPr algn="ctr"/>
                      <a:r>
                        <a:rPr lang="en-US">
                          <a:solidFill>
                            <a:schemeClr val="tx1"/>
                          </a:solidFill>
                        </a:rPr>
                        <a:t>572</a:t>
                      </a:r>
                    </a:p>
                  </a:txBody>
                  <a:tcPr anchor="ctr"/>
                </a:tc>
                <a:tc>
                  <a:txBody>
                    <a:bodyPr/>
                    <a:lstStyle/>
                    <a:p>
                      <a:pPr algn="ctr"/>
                      <a:r>
                        <a:rPr lang="en-US">
                          <a:solidFill>
                            <a:schemeClr val="accent2">
                              <a:lumMod val="75000"/>
                            </a:schemeClr>
                          </a:solidFill>
                        </a:rPr>
                        <a:t>377</a:t>
                      </a:r>
                    </a:p>
                  </a:txBody>
                  <a:tcPr anchor="ctr"/>
                </a:tc>
                <a:tc>
                  <a:txBody>
                    <a:bodyPr/>
                    <a:lstStyle/>
                    <a:p>
                      <a:pPr algn="ctr"/>
                      <a:r>
                        <a:rPr lang="en-US">
                          <a:solidFill>
                            <a:schemeClr val="accent5">
                              <a:lumMod val="75000"/>
                            </a:schemeClr>
                          </a:solidFill>
                        </a:rPr>
                        <a:t>75</a:t>
                      </a:r>
                    </a:p>
                  </a:txBody>
                  <a:tcPr anchor="ctr"/>
                </a:tc>
                <a:tc>
                  <a:txBody>
                    <a:bodyPr/>
                    <a:lstStyle/>
                    <a:p>
                      <a:pPr algn="ctr"/>
                      <a:r>
                        <a:rPr lang="en-US">
                          <a:solidFill>
                            <a:schemeClr val="accent5">
                              <a:lumMod val="75000"/>
                            </a:schemeClr>
                          </a:solidFill>
                        </a:rPr>
                        <a:t>421</a:t>
                      </a:r>
                    </a:p>
                  </a:txBody>
                  <a:tcPr anchor="ctr"/>
                </a:tc>
                <a:tc>
                  <a:txBody>
                    <a:bodyPr/>
                    <a:lstStyle/>
                    <a:p>
                      <a:pPr algn="ctr"/>
                      <a:r>
                        <a:rPr lang="en-US">
                          <a:solidFill>
                            <a:schemeClr val="accent5">
                              <a:lumMod val="75000"/>
                            </a:schemeClr>
                          </a:solidFill>
                        </a:rPr>
                        <a:t>326</a:t>
                      </a:r>
                    </a:p>
                  </a:txBody>
                  <a:tcPr anchor="ctr"/>
                </a:tc>
                <a:tc>
                  <a:txBody>
                    <a:bodyPr/>
                    <a:lstStyle/>
                    <a:p>
                      <a:pPr algn="ctr"/>
                      <a:r>
                        <a:rPr lang="en-US">
                          <a:solidFill>
                            <a:schemeClr val="accent5">
                              <a:lumMod val="75000"/>
                            </a:schemeClr>
                          </a:solidFill>
                        </a:rPr>
                        <a:t>272</a:t>
                      </a:r>
                    </a:p>
                  </a:txBody>
                  <a:tcPr anchor="ctr"/>
                </a:tc>
                <a:extLst>
                  <a:ext uri="{0D108BD9-81ED-4DB2-BD59-A6C34878D82A}">
                    <a16:rowId xmlns:a16="http://schemas.microsoft.com/office/drawing/2014/main" val="3915444"/>
                  </a:ext>
                </a:extLst>
              </a:tr>
              <a:tr h="849248">
                <a:tc>
                  <a:txBody>
                    <a:bodyPr/>
                    <a:lstStyle/>
                    <a:p>
                      <a:pPr algn="ctr"/>
                      <a:r>
                        <a:rPr lang="en-US" sz="1600">
                          <a:solidFill>
                            <a:schemeClr val="tx1"/>
                          </a:solidFill>
                        </a:rPr>
                        <a:t>Max Temperature**</a:t>
                      </a:r>
                    </a:p>
                  </a:txBody>
                  <a:tcPr anchor="ctr"/>
                </a:tc>
                <a:tc>
                  <a:txBody>
                    <a:bodyPr/>
                    <a:lstStyle/>
                    <a:p>
                      <a:pPr algn="ctr"/>
                      <a:r>
                        <a:rPr lang="en-US">
                          <a:solidFill>
                            <a:schemeClr val="tx1"/>
                          </a:solidFill>
                        </a:rPr>
                        <a:t>294</a:t>
                      </a:r>
                    </a:p>
                  </a:txBody>
                  <a:tcPr anchor="ctr"/>
                </a:tc>
                <a:tc>
                  <a:txBody>
                    <a:bodyPr/>
                    <a:lstStyle/>
                    <a:p>
                      <a:pPr algn="ctr"/>
                      <a:r>
                        <a:rPr lang="en-US">
                          <a:solidFill>
                            <a:schemeClr val="accent2">
                              <a:lumMod val="75000"/>
                            </a:schemeClr>
                          </a:solidFill>
                        </a:rPr>
                        <a:t>112</a:t>
                      </a:r>
                    </a:p>
                  </a:txBody>
                  <a:tcPr anchor="ctr"/>
                </a:tc>
                <a:tc>
                  <a:txBody>
                    <a:bodyPr/>
                    <a:lstStyle/>
                    <a:p>
                      <a:pPr algn="ctr"/>
                      <a:r>
                        <a:rPr lang="en-US">
                          <a:solidFill>
                            <a:schemeClr val="accent5">
                              <a:lumMod val="75000"/>
                            </a:schemeClr>
                          </a:solidFill>
                        </a:rPr>
                        <a:t>21</a:t>
                      </a:r>
                    </a:p>
                  </a:txBody>
                  <a:tcPr anchor="ctr"/>
                </a:tc>
                <a:tc>
                  <a:txBody>
                    <a:bodyPr/>
                    <a:lstStyle/>
                    <a:p>
                      <a:pPr algn="ctr"/>
                      <a:r>
                        <a:rPr lang="en-US">
                          <a:solidFill>
                            <a:schemeClr val="accent5">
                              <a:lumMod val="75000"/>
                            </a:schemeClr>
                          </a:solidFill>
                        </a:rPr>
                        <a:t>250</a:t>
                      </a:r>
                    </a:p>
                  </a:txBody>
                  <a:tcPr anchor="ctr"/>
                </a:tc>
                <a:tc>
                  <a:txBody>
                    <a:bodyPr/>
                    <a:lstStyle/>
                    <a:p>
                      <a:pPr algn="ctr"/>
                      <a:r>
                        <a:rPr lang="en-US">
                          <a:solidFill>
                            <a:schemeClr val="accent5">
                              <a:lumMod val="75000"/>
                            </a:schemeClr>
                          </a:solidFill>
                        </a:rPr>
                        <a:t>215</a:t>
                      </a:r>
                    </a:p>
                  </a:txBody>
                  <a:tcPr anchor="ctr"/>
                </a:tc>
                <a:tc>
                  <a:txBody>
                    <a:bodyPr/>
                    <a:lstStyle/>
                    <a:p>
                      <a:pPr algn="ctr"/>
                      <a:r>
                        <a:rPr lang="en-US">
                          <a:solidFill>
                            <a:schemeClr val="accent5">
                              <a:lumMod val="75000"/>
                            </a:schemeClr>
                          </a:solidFill>
                        </a:rPr>
                        <a:t>180</a:t>
                      </a:r>
                    </a:p>
                  </a:txBody>
                  <a:tcPr anchor="ctr"/>
                </a:tc>
                <a:extLst>
                  <a:ext uri="{0D108BD9-81ED-4DB2-BD59-A6C34878D82A}">
                    <a16:rowId xmlns:a16="http://schemas.microsoft.com/office/drawing/2014/main" val="1080965937"/>
                  </a:ext>
                </a:extLst>
              </a:tr>
              <a:tr h="849248">
                <a:tc>
                  <a:txBody>
                    <a:bodyPr/>
                    <a:lstStyle/>
                    <a:p>
                      <a:pPr algn="ctr"/>
                      <a:r>
                        <a:rPr lang="en-US" sz="1600">
                          <a:solidFill>
                            <a:schemeClr val="tx1"/>
                          </a:solidFill>
                        </a:rPr>
                        <a:t>Minimum Temperature**</a:t>
                      </a:r>
                    </a:p>
                  </a:txBody>
                  <a:tcPr anchor="ctr"/>
                </a:tc>
                <a:tc>
                  <a:txBody>
                    <a:bodyPr/>
                    <a:lstStyle/>
                    <a:p>
                      <a:pPr algn="ctr"/>
                      <a:r>
                        <a:rPr lang="en-US">
                          <a:solidFill>
                            <a:schemeClr val="tx1"/>
                          </a:solidFill>
                        </a:rPr>
                        <a:t>294</a:t>
                      </a:r>
                    </a:p>
                  </a:txBody>
                  <a:tcPr anchor="ctr"/>
                </a:tc>
                <a:tc>
                  <a:txBody>
                    <a:bodyPr/>
                    <a:lstStyle/>
                    <a:p>
                      <a:pPr algn="ctr"/>
                      <a:r>
                        <a:rPr lang="en-US">
                          <a:solidFill>
                            <a:schemeClr val="accent2">
                              <a:lumMod val="75000"/>
                            </a:schemeClr>
                          </a:solidFill>
                        </a:rPr>
                        <a:t>270</a:t>
                      </a:r>
                    </a:p>
                  </a:txBody>
                  <a:tcPr anchor="ctr"/>
                </a:tc>
                <a:tc>
                  <a:txBody>
                    <a:bodyPr/>
                    <a:lstStyle/>
                    <a:p>
                      <a:pPr algn="ctr"/>
                      <a:r>
                        <a:rPr lang="en-US">
                          <a:solidFill>
                            <a:schemeClr val="accent5">
                              <a:lumMod val="75000"/>
                            </a:schemeClr>
                          </a:solidFill>
                        </a:rPr>
                        <a:t>30</a:t>
                      </a:r>
                    </a:p>
                  </a:txBody>
                  <a:tcPr anchor="ctr"/>
                </a:tc>
                <a:tc>
                  <a:txBody>
                    <a:bodyPr/>
                    <a:lstStyle/>
                    <a:p>
                      <a:pPr algn="ctr"/>
                      <a:r>
                        <a:rPr lang="en-US">
                          <a:solidFill>
                            <a:schemeClr val="accent5">
                              <a:lumMod val="75000"/>
                            </a:schemeClr>
                          </a:solidFill>
                        </a:rPr>
                        <a:t>214</a:t>
                      </a:r>
                    </a:p>
                  </a:txBody>
                  <a:tcPr anchor="ctr"/>
                </a:tc>
                <a:tc>
                  <a:txBody>
                    <a:bodyPr/>
                    <a:lstStyle/>
                    <a:p>
                      <a:pPr algn="ctr"/>
                      <a:r>
                        <a:rPr lang="en-US">
                          <a:solidFill>
                            <a:schemeClr val="accent5">
                              <a:lumMod val="75000"/>
                            </a:schemeClr>
                          </a:solidFill>
                        </a:rPr>
                        <a:t>148</a:t>
                      </a:r>
                    </a:p>
                  </a:txBody>
                  <a:tcPr anchor="ctr"/>
                </a:tc>
                <a:tc>
                  <a:txBody>
                    <a:bodyPr/>
                    <a:lstStyle/>
                    <a:p>
                      <a:pPr algn="ctr"/>
                      <a:r>
                        <a:rPr lang="en-US">
                          <a:solidFill>
                            <a:schemeClr val="accent5">
                              <a:lumMod val="75000"/>
                            </a:schemeClr>
                          </a:solidFill>
                        </a:rPr>
                        <a:t>114</a:t>
                      </a:r>
                    </a:p>
                  </a:txBody>
                  <a:tcPr anchor="ctr"/>
                </a:tc>
                <a:extLst>
                  <a:ext uri="{0D108BD9-81ED-4DB2-BD59-A6C34878D82A}">
                    <a16:rowId xmlns:a16="http://schemas.microsoft.com/office/drawing/2014/main" val="2354756734"/>
                  </a:ext>
                </a:extLst>
              </a:tr>
            </a:tbl>
          </a:graphicData>
        </a:graphic>
      </p:graphicFrame>
      <p:sp>
        <p:nvSpPr>
          <p:cNvPr id="6" name="TextBox 5">
            <a:extLst>
              <a:ext uri="{FF2B5EF4-FFF2-40B4-BE49-F238E27FC236}">
                <a16:creationId xmlns:a16="http://schemas.microsoft.com/office/drawing/2014/main" id="{F9A90AC9-FF45-1DD7-CEB0-5E248581C50C}"/>
              </a:ext>
            </a:extLst>
          </p:cNvPr>
          <p:cNvSpPr txBox="1"/>
          <p:nvPr/>
        </p:nvSpPr>
        <p:spPr>
          <a:xfrm>
            <a:off x="842391" y="5939161"/>
            <a:ext cx="10006122" cy="307777"/>
          </a:xfrm>
          <a:prstGeom prst="rect">
            <a:avLst/>
          </a:prstGeom>
          <a:noFill/>
        </p:spPr>
        <p:txBody>
          <a:bodyPr wrap="square" rtlCol="0">
            <a:spAutoFit/>
          </a:bodyPr>
          <a:lstStyle/>
          <a:p>
            <a:r>
              <a:rPr lang="en-US" sz="1400"/>
              <a:t>** Max/Min Temperature model dataset was filtered for dates before Aug 2019 before performing 80-20 train-test data split. </a:t>
            </a:r>
          </a:p>
        </p:txBody>
      </p:sp>
    </p:spTree>
    <p:extLst>
      <p:ext uri="{BB962C8B-B14F-4D97-AF65-F5344CB8AC3E}">
        <p14:creationId xmlns:p14="http://schemas.microsoft.com/office/powerpoint/2010/main" val="386613077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865388" y="308973"/>
            <a:ext cx="9771851" cy="865913"/>
          </a:xfrm>
          <a:prstGeom prst="rect">
            <a:avLst/>
          </a:prstGeom>
        </p:spPr>
        <p:txBody>
          <a:bodyPr vert="horz" lIns="91440" tIns="45720" rIns="91440" bIns="45720" rtlCol="0" anchor="ctr">
            <a:normAutofit fontScale="92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i="1" u="sng">
                <a:solidFill>
                  <a:schemeClr val="accent1">
                    <a:lumMod val="50000"/>
                  </a:schemeClr>
                </a:solidFill>
                <a:latin typeface="Calibri Light" panose="020F0302020204030204" pitchFamily="34" charset="0"/>
              </a:rPr>
              <a:t>ML/DL Model Results : </a:t>
            </a:r>
            <a:r>
              <a:rPr lang="en-US" sz="4000" b="1" i="1" u="sng">
                <a:solidFill>
                  <a:schemeClr val="accent1">
                    <a:lumMod val="50000"/>
                  </a:schemeClr>
                </a:solidFill>
                <a:latin typeface="Calibri Light" panose="020F0302020204030204" pitchFamily="34" charset="0"/>
              </a:rPr>
              <a:t>Training Time Performance</a:t>
            </a:r>
            <a:endParaRPr lang="en-US" sz="4000" b="1" i="1" u="sng">
              <a:solidFill>
                <a:schemeClr val="accent1">
                  <a:lumMod val="50000"/>
                </a:schemeClr>
              </a:solidFill>
            </a:endParaRPr>
          </a:p>
        </p:txBody>
      </p:sp>
      <p:graphicFrame>
        <p:nvGraphicFramePr>
          <p:cNvPr id="3" name="Table 3">
            <a:extLst>
              <a:ext uri="{FF2B5EF4-FFF2-40B4-BE49-F238E27FC236}">
                <a16:creationId xmlns:a16="http://schemas.microsoft.com/office/drawing/2014/main" id="{2F7E60F5-2651-E457-BA6A-2FB22CF29CDA}"/>
              </a:ext>
            </a:extLst>
          </p:cNvPr>
          <p:cNvGraphicFramePr>
            <a:graphicFrameLocks noGrp="1"/>
          </p:cNvGraphicFramePr>
          <p:nvPr>
            <p:extLst>
              <p:ext uri="{D42A27DB-BD31-4B8C-83A1-F6EECF244321}">
                <p14:modId xmlns:p14="http://schemas.microsoft.com/office/powerpoint/2010/main" val="4066190003"/>
              </p:ext>
            </p:extLst>
          </p:nvPr>
        </p:nvGraphicFramePr>
        <p:xfrm>
          <a:off x="966055" y="1325888"/>
          <a:ext cx="10612235" cy="2952017"/>
        </p:xfrm>
        <a:graphic>
          <a:graphicData uri="http://schemas.openxmlformats.org/drawingml/2006/table">
            <a:tbl>
              <a:tblPr firstRow="1" bandRow="1">
                <a:tableStyleId>{1FECB4D8-DB02-4DC6-A0A2-4F2EBAE1DC90}</a:tableStyleId>
              </a:tblPr>
              <a:tblGrid>
                <a:gridCol w="2122447">
                  <a:extLst>
                    <a:ext uri="{9D8B030D-6E8A-4147-A177-3AD203B41FA5}">
                      <a16:colId xmlns:a16="http://schemas.microsoft.com/office/drawing/2014/main" val="1009379661"/>
                    </a:ext>
                  </a:extLst>
                </a:gridCol>
                <a:gridCol w="2122447">
                  <a:extLst>
                    <a:ext uri="{9D8B030D-6E8A-4147-A177-3AD203B41FA5}">
                      <a16:colId xmlns:a16="http://schemas.microsoft.com/office/drawing/2014/main" val="197472878"/>
                    </a:ext>
                  </a:extLst>
                </a:gridCol>
                <a:gridCol w="2122447">
                  <a:extLst>
                    <a:ext uri="{9D8B030D-6E8A-4147-A177-3AD203B41FA5}">
                      <a16:colId xmlns:a16="http://schemas.microsoft.com/office/drawing/2014/main" val="4054881987"/>
                    </a:ext>
                  </a:extLst>
                </a:gridCol>
                <a:gridCol w="2122447">
                  <a:extLst>
                    <a:ext uri="{9D8B030D-6E8A-4147-A177-3AD203B41FA5}">
                      <a16:colId xmlns:a16="http://schemas.microsoft.com/office/drawing/2014/main" val="1211149317"/>
                    </a:ext>
                  </a:extLst>
                </a:gridCol>
                <a:gridCol w="2122447">
                  <a:extLst>
                    <a:ext uri="{9D8B030D-6E8A-4147-A177-3AD203B41FA5}">
                      <a16:colId xmlns:a16="http://schemas.microsoft.com/office/drawing/2014/main" val="2203488900"/>
                    </a:ext>
                  </a:extLst>
                </a:gridCol>
              </a:tblGrid>
              <a:tr h="951105">
                <a:tc>
                  <a:txBody>
                    <a:bodyPr/>
                    <a:lstStyle/>
                    <a:p>
                      <a:pPr algn="ctr"/>
                      <a:r>
                        <a:rPr lang="en-US" sz="1400">
                          <a:solidFill>
                            <a:schemeClr val="tx1"/>
                          </a:solidFill>
                        </a:rPr>
                        <a:t>Variabl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solidFill>
                            <a:schemeClr val="tx1"/>
                          </a:solidFill>
                        </a:rPr>
                        <a:t>Days in training dat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solidFill>
                            <a:schemeClr val="tx1"/>
                          </a:solidFill>
                        </a:rPr>
                        <a:t>**LGBM training time (minu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solidFill>
                            <a:schemeClr val="tx1"/>
                          </a:solidFill>
                        </a:rPr>
                        <a:t>***LGBM training time</a:t>
                      </a:r>
                    </a:p>
                    <a:p>
                      <a:pPr algn="ctr"/>
                      <a:r>
                        <a:rPr lang="en-US" sz="1400">
                          <a:solidFill>
                            <a:schemeClr val="tx1"/>
                          </a:solidFill>
                        </a:rPr>
                        <a:t>with hyperparameter </a:t>
                      </a:r>
                    </a:p>
                    <a:p>
                      <a:pPr algn="ctr"/>
                      <a:r>
                        <a:rPr lang="en-US" sz="1400">
                          <a:solidFill>
                            <a:schemeClr val="tx1"/>
                          </a:solidFill>
                        </a:rPr>
                        <a:t>tuning (minu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solidFill>
                            <a:schemeClr val="tx1"/>
                          </a:solidFill>
                        </a:rPr>
                        <a:t>*Deep Learning  training time</a:t>
                      </a:r>
                    </a:p>
                    <a:p>
                      <a:pPr algn="ctr"/>
                      <a:r>
                        <a:rPr lang="en-US" sz="1400">
                          <a:solidFill>
                            <a:schemeClr val="tx1"/>
                          </a:solidFill>
                        </a:rPr>
                        <a:t>(minu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69218541"/>
                  </a:ext>
                </a:extLst>
              </a:tr>
              <a:tr h="482296">
                <a:tc>
                  <a:txBody>
                    <a:bodyPr/>
                    <a:lstStyle/>
                    <a:p>
                      <a:pPr algn="ctr"/>
                      <a:r>
                        <a:rPr lang="en-US" sz="1400">
                          <a:solidFill>
                            <a:schemeClr val="tx1"/>
                          </a:solidFill>
                        </a:rPr>
                        <a:t>Max Temperatur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solidFill>
                            <a:schemeClr val="tx1"/>
                          </a:solidFill>
                        </a:rPr>
                        <a:t>117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solidFill>
                            <a:srgbClr val="0070C0"/>
                          </a:solidFill>
                        </a:rPr>
                        <a:t>0.1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solidFill>
                            <a:srgbClr val="7030A0"/>
                          </a:solidFill>
                        </a:rPr>
                        <a:t>~3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solidFill>
                            <a:srgbClr val="00B050"/>
                          </a:solidFill>
                        </a:rPr>
                        <a:t>42 </a:t>
                      </a:r>
                    </a:p>
                    <a:p>
                      <a:pPr algn="ctr"/>
                      <a:r>
                        <a:rPr lang="en-US" sz="1400">
                          <a:solidFill>
                            <a:schemeClr val="tx1"/>
                          </a:solidFill>
                        </a:rPr>
                        <a:t>for 63 epoch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69268903"/>
                  </a:ext>
                </a:extLst>
              </a:tr>
              <a:tr h="482296">
                <a:tc>
                  <a:txBody>
                    <a:bodyPr/>
                    <a:lstStyle/>
                    <a:p>
                      <a:pPr algn="ctr"/>
                      <a:r>
                        <a:rPr lang="en-US" sz="1400">
                          <a:solidFill>
                            <a:schemeClr val="tx1"/>
                          </a:solidFill>
                        </a:rPr>
                        <a:t>Min Temperatur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solidFill>
                            <a:schemeClr val="tx1"/>
                          </a:solidFill>
                        </a:rPr>
                        <a:t>117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solidFill>
                            <a:srgbClr val="0070C0"/>
                          </a:solidFill>
                        </a:rPr>
                        <a:t>0.1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solidFill>
                            <a:srgbClr val="7030A0"/>
                          </a:solidFill>
                        </a:rPr>
                        <a:t>~2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solidFill>
                            <a:srgbClr val="00B050"/>
                          </a:solidFill>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39366764"/>
                  </a:ext>
                </a:extLst>
              </a:tr>
              <a:tr h="482296">
                <a:tc>
                  <a:txBody>
                    <a:bodyPr/>
                    <a:lstStyle/>
                    <a:p>
                      <a:pPr algn="ctr"/>
                      <a:r>
                        <a:rPr lang="en-US" sz="1400">
                          <a:solidFill>
                            <a:schemeClr val="tx1"/>
                          </a:solidFill>
                        </a:rPr>
                        <a:t>Avg. Wind Spe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solidFill>
                            <a:schemeClr val="tx1"/>
                          </a:solidFill>
                        </a:rPr>
                        <a:t>200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solidFill>
                            <a:srgbClr val="0070C0"/>
                          </a:solidFill>
                        </a:rPr>
                        <a:t>0.3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solidFill>
                            <a:srgbClr val="7030A0"/>
                          </a:solidFill>
                        </a:rPr>
                        <a:t>~2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solidFill>
                            <a:srgbClr val="00B050"/>
                          </a:solidFill>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22843891"/>
                  </a:ext>
                </a:extLst>
              </a:tr>
              <a:tr h="482296">
                <a:tc>
                  <a:txBody>
                    <a:bodyPr/>
                    <a:lstStyle/>
                    <a:p>
                      <a:pPr algn="ctr"/>
                      <a:r>
                        <a:rPr lang="en-US" sz="1400">
                          <a:solidFill>
                            <a:schemeClr val="tx1"/>
                          </a:solidFill>
                        </a:rPr>
                        <a:t>Total precipit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solidFill>
                            <a:schemeClr val="tx1"/>
                          </a:solidFill>
                        </a:rPr>
                        <a:t>1628 (LGBM)</a:t>
                      </a:r>
                    </a:p>
                    <a:p>
                      <a:pPr algn="ctr"/>
                      <a:r>
                        <a:rPr lang="en-US" sz="1400">
                          <a:solidFill>
                            <a:schemeClr val="tx1"/>
                          </a:solidFill>
                        </a:rPr>
                        <a:t>1356 (D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solidFill>
                            <a:srgbClr val="0070C0"/>
                          </a:solidFill>
                        </a:rPr>
                        <a:t>0.04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solidFill>
                            <a:srgbClr val="7030A0"/>
                          </a:solidFill>
                        </a:rPr>
                        <a:t>~4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solidFill>
                            <a:srgbClr val="00B050"/>
                          </a:solidFill>
                        </a:rPr>
                        <a:t>7.9</a:t>
                      </a:r>
                    </a:p>
                    <a:p>
                      <a:pPr algn="ctr"/>
                      <a:r>
                        <a:rPr lang="en-US" sz="1400">
                          <a:solidFill>
                            <a:schemeClr val="tx1"/>
                          </a:solidFill>
                        </a:rPr>
                        <a:t>for 60 epoch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72413712"/>
                  </a:ext>
                </a:extLst>
              </a:tr>
            </a:tbl>
          </a:graphicData>
        </a:graphic>
      </p:graphicFrame>
      <p:sp>
        <p:nvSpPr>
          <p:cNvPr id="4" name="TextBox 3">
            <a:extLst>
              <a:ext uri="{FF2B5EF4-FFF2-40B4-BE49-F238E27FC236}">
                <a16:creationId xmlns:a16="http://schemas.microsoft.com/office/drawing/2014/main" id="{E2FFE966-41BB-FE13-4FE7-E23C85432A77}"/>
              </a:ext>
            </a:extLst>
          </p:cNvPr>
          <p:cNvSpPr txBox="1"/>
          <p:nvPr/>
        </p:nvSpPr>
        <p:spPr>
          <a:xfrm>
            <a:off x="865388" y="4362018"/>
            <a:ext cx="10507462" cy="738664"/>
          </a:xfrm>
          <a:prstGeom prst="rect">
            <a:avLst/>
          </a:prstGeom>
          <a:noFill/>
        </p:spPr>
        <p:txBody>
          <a:bodyPr wrap="square" rtlCol="0">
            <a:spAutoFit/>
          </a:bodyPr>
          <a:lstStyle/>
          <a:p>
            <a:r>
              <a:rPr lang="en-US" sz="1400" b="1"/>
              <a:t>*** </a:t>
            </a:r>
            <a:r>
              <a:rPr lang="en-US" sz="1400"/>
              <a:t>Tuned LGBM model for 09 hyperparameters with 10-fold Randomized CV. A total of 500 combinations of hyperparameters were tested.</a:t>
            </a:r>
          </a:p>
          <a:p>
            <a:r>
              <a:rPr lang="en-US" sz="1400" b="1"/>
              <a:t>**</a:t>
            </a:r>
            <a:r>
              <a:rPr lang="en-US" sz="1400"/>
              <a:t> For LGBM, used instance ml.m5.4xlarge</a:t>
            </a:r>
          </a:p>
          <a:p>
            <a:r>
              <a:rPr lang="en-US" sz="1400"/>
              <a:t>*   For DL, used instance ml.p3.2xlage</a:t>
            </a:r>
          </a:p>
        </p:txBody>
      </p:sp>
      <p:sp>
        <p:nvSpPr>
          <p:cNvPr id="2" name="Slide Number Placeholder 1">
            <a:extLst>
              <a:ext uri="{FF2B5EF4-FFF2-40B4-BE49-F238E27FC236}">
                <a16:creationId xmlns:a16="http://schemas.microsoft.com/office/drawing/2014/main" id="{04FB52FD-279C-3A62-1E73-A9CC0CA096CD}"/>
              </a:ext>
            </a:extLst>
          </p:cNvPr>
          <p:cNvSpPr>
            <a:spLocks noGrp="1"/>
          </p:cNvSpPr>
          <p:nvPr>
            <p:ph type="sldNum" sz="quarter" idx="12"/>
          </p:nvPr>
        </p:nvSpPr>
        <p:spPr/>
        <p:txBody>
          <a:bodyPr/>
          <a:lstStyle/>
          <a:p>
            <a:fld id="{EEAD9179-7A6B-4268-BEB2-F3B8EB06115B}" type="slidenum">
              <a:rPr lang="en-US" noProof="0" smtClean="0"/>
              <a:t>43</a:t>
            </a:fld>
            <a:endParaRPr lang="en-US" noProof="0"/>
          </a:p>
        </p:txBody>
      </p:sp>
    </p:spTree>
    <p:extLst>
      <p:ext uri="{BB962C8B-B14F-4D97-AF65-F5344CB8AC3E}">
        <p14:creationId xmlns:p14="http://schemas.microsoft.com/office/powerpoint/2010/main" val="1519544032"/>
      </p:ext>
    </p:extLst>
  </p:cSld>
  <p:clrMapOvr>
    <a:masterClrMapping/>
  </p:clrMapOvr>
  <p:extLst>
    <p:ext uri="{6950BFC3-D8DA-4A85-94F7-54DA5524770B}">
      <p188:commentRel xmlns:p188="http://schemas.microsoft.com/office/powerpoint/2018/8/main" r:id="rId2"/>
    </p:ext>
  </p:extLst>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1107346" y="348479"/>
            <a:ext cx="3484228" cy="7316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i="1" u="sng">
                <a:solidFill>
                  <a:schemeClr val="accent1">
                    <a:lumMod val="50000"/>
                  </a:schemeClr>
                </a:solidFill>
                <a:latin typeface="Calibri Light" panose="020F0302020204030204" pitchFamily="34" charset="0"/>
              </a:rPr>
              <a:t>LightGBM</a:t>
            </a:r>
            <a:endParaRPr lang="en-US" sz="4000" i="1" u="sng">
              <a:solidFill>
                <a:schemeClr val="accent1">
                  <a:lumMod val="50000"/>
                </a:schemeClr>
              </a:solidFill>
            </a:endParaRPr>
          </a:p>
        </p:txBody>
      </p:sp>
      <p:sp>
        <p:nvSpPr>
          <p:cNvPr id="2" name="TextBox 1">
            <a:extLst>
              <a:ext uri="{FF2B5EF4-FFF2-40B4-BE49-F238E27FC236}">
                <a16:creationId xmlns:a16="http://schemas.microsoft.com/office/drawing/2014/main" id="{D7F0CE40-FD58-2883-D94E-AB5BE1E84661}"/>
              </a:ext>
            </a:extLst>
          </p:cNvPr>
          <p:cNvSpPr txBox="1"/>
          <p:nvPr/>
        </p:nvSpPr>
        <p:spPr>
          <a:xfrm>
            <a:off x="1015067" y="1112586"/>
            <a:ext cx="5908247" cy="5554726"/>
          </a:xfrm>
          <a:prstGeom prst="rect">
            <a:avLst/>
          </a:prstGeom>
          <a:noFill/>
        </p:spPr>
        <p:txBody>
          <a:bodyPr wrap="square" rtlCol="0">
            <a:spAutoFit/>
          </a:bodyPr>
          <a:lstStyle/>
          <a:p>
            <a:pPr marL="285750" indent="-285750">
              <a:lnSpc>
                <a:spcPct val="200000"/>
              </a:lnSpc>
              <a:buFont typeface="Wingdings" panose="05000000000000000000" pitchFamily="2" charset="2"/>
              <a:buChar char="§"/>
            </a:pPr>
            <a:r>
              <a:rPr lang="en-US"/>
              <a:t>A library implementing Decision Tree type machine learning models.</a:t>
            </a:r>
          </a:p>
          <a:p>
            <a:pPr marL="285750" indent="-285750">
              <a:lnSpc>
                <a:spcPct val="200000"/>
              </a:lnSpc>
              <a:buFont typeface="Wingdings" panose="05000000000000000000" pitchFamily="2" charset="2"/>
              <a:buChar char="§"/>
            </a:pPr>
            <a:r>
              <a:rPr lang="en-US"/>
              <a:t>Uses </a:t>
            </a:r>
            <a:r>
              <a:rPr lang="en-US">
                <a:solidFill>
                  <a:srgbClr val="00B0F0"/>
                </a:solidFill>
              </a:rPr>
              <a:t>‘Boosting’ </a:t>
            </a:r>
            <a:r>
              <a:rPr lang="en-US"/>
              <a:t>instead of </a:t>
            </a:r>
            <a:r>
              <a:rPr lang="en-US">
                <a:solidFill>
                  <a:srgbClr val="00B0F0"/>
                </a:solidFill>
              </a:rPr>
              <a:t>‘Bagging’</a:t>
            </a:r>
            <a:r>
              <a:rPr lang="en-US"/>
              <a:t>.</a:t>
            </a:r>
          </a:p>
          <a:p>
            <a:pPr marL="285750" indent="-285750">
              <a:lnSpc>
                <a:spcPct val="200000"/>
              </a:lnSpc>
              <a:buFont typeface="Wingdings" panose="05000000000000000000" pitchFamily="2" charset="2"/>
              <a:buChar char="§"/>
            </a:pPr>
            <a:r>
              <a:rPr lang="en-US"/>
              <a:t>More hyperparameters available to handle overfitting.</a:t>
            </a:r>
            <a:endParaRPr lang="en-US">
              <a:hlinkClick r:id="rId2"/>
            </a:endParaRPr>
          </a:p>
          <a:p>
            <a:pPr marL="285750" indent="-285750">
              <a:lnSpc>
                <a:spcPct val="200000"/>
              </a:lnSpc>
              <a:buFont typeface="Wingdings" panose="05000000000000000000" pitchFamily="2" charset="2"/>
              <a:buChar char="§"/>
            </a:pPr>
            <a:r>
              <a:rPr lang="en-US"/>
              <a:t>Very fast, low memory usage for large datasets.</a:t>
            </a:r>
          </a:p>
          <a:p>
            <a:pPr marL="285750" indent="-285750">
              <a:lnSpc>
                <a:spcPct val="200000"/>
              </a:lnSpc>
              <a:buFont typeface="Wingdings" panose="05000000000000000000" pitchFamily="2" charset="2"/>
              <a:buChar char="§"/>
            </a:pPr>
            <a:r>
              <a:rPr lang="en-US"/>
              <a:t>Supports parallel, distributed, and GPU learning.</a:t>
            </a:r>
          </a:p>
          <a:p>
            <a:pPr marL="285750" indent="-285750">
              <a:lnSpc>
                <a:spcPct val="200000"/>
              </a:lnSpc>
              <a:buFont typeface="Wingdings" panose="05000000000000000000" pitchFamily="2" charset="2"/>
              <a:buChar char="§"/>
            </a:pPr>
            <a:r>
              <a:rPr lang="en-US"/>
              <a:t>Better performance than RF if properly tuned.</a:t>
            </a:r>
            <a:endParaRPr lang="en-US">
              <a:hlinkClick r:id="rId2"/>
            </a:endParaRPr>
          </a:p>
          <a:p>
            <a:pPr marL="285750" indent="-285750">
              <a:lnSpc>
                <a:spcPct val="200000"/>
              </a:lnSpc>
              <a:buFont typeface="Wingdings" panose="05000000000000000000" pitchFamily="2" charset="2"/>
              <a:buChar char="§"/>
            </a:pPr>
            <a:r>
              <a:rPr lang="en-US">
                <a:hlinkClick r:id="rId2"/>
              </a:rPr>
              <a:t>Gradient-based One-Side Sampling (GOSS)</a:t>
            </a:r>
            <a:r>
              <a:rPr lang="en-US"/>
              <a:t> algorithm: uses large gradients only for information gain. Doesn’t consider smaller gradients.</a:t>
            </a:r>
          </a:p>
        </p:txBody>
      </p:sp>
      <p:pic>
        <p:nvPicPr>
          <p:cNvPr id="4" name="Picture 3" descr="A diagram of a machine&#10;&#10;Description automatically generated">
            <a:extLst>
              <a:ext uri="{FF2B5EF4-FFF2-40B4-BE49-F238E27FC236}">
                <a16:creationId xmlns:a16="http://schemas.microsoft.com/office/drawing/2014/main" id="{1F3928B2-2EB8-90D8-00E2-DB5968469B0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12162" y="1954636"/>
            <a:ext cx="5033744" cy="2828964"/>
          </a:xfrm>
          <a:prstGeom prst="rect">
            <a:avLst/>
          </a:prstGeom>
        </p:spPr>
      </p:pic>
      <p:sp>
        <p:nvSpPr>
          <p:cNvPr id="5" name="TextBox 4">
            <a:extLst>
              <a:ext uri="{FF2B5EF4-FFF2-40B4-BE49-F238E27FC236}">
                <a16:creationId xmlns:a16="http://schemas.microsoft.com/office/drawing/2014/main" id="{6A27386A-B57B-A363-CCC3-30DA88AE1FEE}"/>
              </a:ext>
            </a:extLst>
          </p:cNvPr>
          <p:cNvSpPr txBox="1"/>
          <p:nvPr/>
        </p:nvSpPr>
        <p:spPr>
          <a:xfrm>
            <a:off x="7242910" y="6144092"/>
            <a:ext cx="3514987" cy="523220"/>
          </a:xfrm>
          <a:prstGeom prst="rect">
            <a:avLst/>
          </a:prstGeom>
          <a:noFill/>
        </p:spPr>
        <p:txBody>
          <a:bodyPr wrap="square" rtlCol="0">
            <a:spAutoFit/>
          </a:bodyPr>
          <a:lstStyle/>
          <a:p>
            <a:r>
              <a:rPr lang="en-US" sz="1400"/>
              <a:t>Sources: </a:t>
            </a:r>
            <a:r>
              <a:rPr lang="en-US" sz="1400">
                <a:hlinkClick r:id="rId4"/>
              </a:rPr>
              <a:t>LightGBM</a:t>
            </a:r>
            <a:r>
              <a:rPr lang="en-US" sz="1400"/>
              <a:t>, </a:t>
            </a:r>
            <a:r>
              <a:rPr lang="en-US" sz="1400">
                <a:hlinkClick r:id="rId5"/>
              </a:rPr>
              <a:t>Medium</a:t>
            </a:r>
            <a:endParaRPr lang="en-US" sz="1400"/>
          </a:p>
          <a:p>
            <a:r>
              <a:rPr lang="en-US" sz="1400"/>
              <a:t>Figure Source: </a:t>
            </a:r>
            <a:r>
              <a:rPr lang="en-US" sz="1400">
                <a:hlinkClick r:id="rId6"/>
              </a:rPr>
              <a:t>Analytics Vidhya</a:t>
            </a:r>
            <a:endParaRPr lang="en-US" sz="1400"/>
          </a:p>
        </p:txBody>
      </p:sp>
      <p:sp>
        <p:nvSpPr>
          <p:cNvPr id="3" name="Slide Number Placeholder 2">
            <a:extLst>
              <a:ext uri="{FF2B5EF4-FFF2-40B4-BE49-F238E27FC236}">
                <a16:creationId xmlns:a16="http://schemas.microsoft.com/office/drawing/2014/main" id="{80EC1DD3-5F71-1BF9-3CE1-85B58A6ED042}"/>
              </a:ext>
            </a:extLst>
          </p:cNvPr>
          <p:cNvSpPr>
            <a:spLocks noGrp="1"/>
          </p:cNvSpPr>
          <p:nvPr>
            <p:ph type="sldNum" sz="quarter" idx="12"/>
          </p:nvPr>
        </p:nvSpPr>
        <p:spPr/>
        <p:txBody>
          <a:bodyPr/>
          <a:lstStyle/>
          <a:p>
            <a:fld id="{EEAD9179-7A6B-4268-BEB2-F3B8EB06115B}" type="slidenum">
              <a:rPr lang="en-US" noProof="0" smtClean="0"/>
              <a:t>44</a:t>
            </a:fld>
            <a:endParaRPr lang="en-US" noProof="0"/>
          </a:p>
        </p:txBody>
      </p:sp>
    </p:spTree>
    <p:extLst>
      <p:ext uri="{BB962C8B-B14F-4D97-AF65-F5344CB8AC3E}">
        <p14:creationId xmlns:p14="http://schemas.microsoft.com/office/powerpoint/2010/main" val="35569604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1060582" y="432166"/>
            <a:ext cx="9144000" cy="7316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i="1" u="sng">
                <a:solidFill>
                  <a:schemeClr val="accent1">
                    <a:lumMod val="50000"/>
                  </a:schemeClr>
                </a:solidFill>
                <a:latin typeface="Calibri Light" panose="020F0302020204030204" pitchFamily="34" charset="0"/>
              </a:rPr>
              <a:t>Motivation</a:t>
            </a:r>
            <a:endParaRPr lang="en-US" sz="4000" i="1" u="sng">
              <a:solidFill>
                <a:schemeClr val="accent1">
                  <a:lumMod val="50000"/>
                </a:schemeClr>
              </a:solidFill>
            </a:endParaRPr>
          </a:p>
        </p:txBody>
      </p:sp>
      <p:pic>
        <p:nvPicPr>
          <p:cNvPr id="2" name="Picture 2">
            <a:extLst>
              <a:ext uri="{FF2B5EF4-FFF2-40B4-BE49-F238E27FC236}">
                <a16:creationId xmlns:a16="http://schemas.microsoft.com/office/drawing/2014/main" id="{DF1611CB-1404-889A-3365-5AD7BC3A977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74541" y="2128568"/>
            <a:ext cx="3882787" cy="3574629"/>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B9F5EBE5-BF4F-6602-E462-2A211297793D}"/>
              </a:ext>
            </a:extLst>
          </p:cNvPr>
          <p:cNvSpPr txBox="1"/>
          <p:nvPr/>
        </p:nvSpPr>
        <p:spPr>
          <a:xfrm>
            <a:off x="6024776" y="1444084"/>
            <a:ext cx="2739990" cy="646331"/>
          </a:xfrm>
          <a:prstGeom prst="rect">
            <a:avLst/>
          </a:prstGeom>
          <a:noFill/>
        </p:spPr>
        <p:txBody>
          <a:bodyPr wrap="square">
            <a:spAutoFit/>
          </a:bodyPr>
          <a:lstStyle/>
          <a:p>
            <a:pPr algn="ctr"/>
            <a:r>
              <a:rPr lang="en-US" dirty="0"/>
              <a:t>E</a:t>
            </a:r>
            <a:r>
              <a:rPr lang="en-US" sz="1800" dirty="0"/>
              <a:t>nvironmental </a:t>
            </a:r>
          </a:p>
          <a:p>
            <a:pPr algn="ctr"/>
            <a:r>
              <a:rPr lang="en-US" sz="1800" dirty="0"/>
              <a:t>Clustering App</a:t>
            </a:r>
            <a:endParaRPr lang="en-US" dirty="0"/>
          </a:p>
        </p:txBody>
      </p:sp>
      <p:graphicFrame>
        <p:nvGraphicFramePr>
          <p:cNvPr id="15" name="Diagram 14">
            <a:extLst>
              <a:ext uri="{FF2B5EF4-FFF2-40B4-BE49-F238E27FC236}">
                <a16:creationId xmlns:a16="http://schemas.microsoft.com/office/drawing/2014/main" id="{A1F61D02-76F0-6BAF-2680-6342F5A3100A}"/>
              </a:ext>
            </a:extLst>
          </p:cNvPr>
          <p:cNvGraphicFramePr/>
          <p:nvPr>
            <p:extLst>
              <p:ext uri="{D42A27DB-BD31-4B8C-83A1-F6EECF244321}">
                <p14:modId xmlns:p14="http://schemas.microsoft.com/office/powerpoint/2010/main" val="4252276354"/>
              </p:ext>
            </p:extLst>
          </p:nvPr>
        </p:nvGraphicFramePr>
        <p:xfrm>
          <a:off x="9557328" y="1376931"/>
          <a:ext cx="2605455" cy="516647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Slide Number Placeholder 3">
            <a:extLst>
              <a:ext uri="{FF2B5EF4-FFF2-40B4-BE49-F238E27FC236}">
                <a16:creationId xmlns:a16="http://schemas.microsoft.com/office/drawing/2014/main" id="{6CE70B44-3ABA-966C-1037-341F0E51DA50}"/>
              </a:ext>
            </a:extLst>
          </p:cNvPr>
          <p:cNvSpPr>
            <a:spLocks noGrp="1"/>
          </p:cNvSpPr>
          <p:nvPr>
            <p:ph type="sldNum" sz="quarter" idx="12"/>
          </p:nvPr>
        </p:nvSpPr>
        <p:spPr/>
        <p:txBody>
          <a:bodyPr/>
          <a:lstStyle/>
          <a:p>
            <a:fld id="{EEAD9179-7A6B-4268-BEB2-F3B8EB06115B}" type="slidenum">
              <a:rPr lang="en-US" noProof="0" smtClean="0"/>
              <a:t>5</a:t>
            </a:fld>
            <a:endParaRPr lang="en-US" noProof="0"/>
          </a:p>
        </p:txBody>
      </p:sp>
      <p:sp>
        <p:nvSpPr>
          <p:cNvPr id="8" name="TextBox 7">
            <a:extLst>
              <a:ext uri="{FF2B5EF4-FFF2-40B4-BE49-F238E27FC236}">
                <a16:creationId xmlns:a16="http://schemas.microsoft.com/office/drawing/2014/main" id="{B6129EBB-5BBC-0496-43B1-E5DD89BBC166}"/>
              </a:ext>
            </a:extLst>
          </p:cNvPr>
          <p:cNvSpPr txBox="1"/>
          <p:nvPr/>
        </p:nvSpPr>
        <p:spPr>
          <a:xfrm>
            <a:off x="772833" y="1269079"/>
            <a:ext cx="5035418" cy="5355312"/>
          </a:xfrm>
          <a:prstGeom prst="rect">
            <a:avLst/>
          </a:prstGeom>
          <a:noFill/>
        </p:spPr>
        <p:txBody>
          <a:bodyPr wrap="square">
            <a:spAutoFit/>
          </a:bodyPr>
          <a:lstStyle/>
          <a:p>
            <a:pPr marL="285750" indent="-285750">
              <a:buFont typeface="Arial" panose="020B0604020202020204" pitchFamily="34" charset="0"/>
              <a:buChar char="•"/>
            </a:pPr>
            <a:r>
              <a:rPr lang="en-US" u="sng" dirty="0"/>
              <a:t>Environmental Clustering App is developed by Veg R&amp;D APD </a:t>
            </a:r>
            <a:r>
              <a:rPr lang="en-US" dirty="0"/>
              <a:t>to enable rapid, effective and scalable production of clustering maps across various crops and region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It unlocks potential business values and are used across Veg R&amp;D and in many other Bayer organizations</a:t>
            </a:r>
          </a:p>
          <a:p>
            <a:endParaRPr lang="en-US" sz="1800" dirty="0"/>
          </a:p>
          <a:p>
            <a:pPr marL="285750" indent="-285750">
              <a:buFont typeface="Arial" panose="020B0604020202020204" pitchFamily="34" charset="0"/>
              <a:buChar char="•"/>
            </a:pPr>
            <a:r>
              <a:rPr lang="en-US" sz="1800" dirty="0"/>
              <a:t>Bottleneck for high-resolution long-term weather data: </a:t>
            </a:r>
          </a:p>
          <a:p>
            <a:pPr marL="742950" lvl="1" indent="-285750">
              <a:buFont typeface="Arial" panose="020B0604020202020204" pitchFamily="34" charset="0"/>
              <a:buChar char="•"/>
            </a:pPr>
            <a:r>
              <a:rPr lang="en-US" dirty="0"/>
              <a:t>Low spatial resolution – long temporal records </a:t>
            </a:r>
          </a:p>
          <a:p>
            <a:pPr marL="742950" lvl="1" indent="-285750">
              <a:buFont typeface="Arial" panose="020B0604020202020204" pitchFamily="34" charset="0"/>
              <a:buChar char="•"/>
            </a:pPr>
            <a:r>
              <a:rPr lang="en-US" dirty="0"/>
              <a:t>High spatial resolution – short temporal records </a:t>
            </a:r>
          </a:p>
          <a:p>
            <a:endParaRPr lang="en-US" dirty="0"/>
          </a:p>
          <a:p>
            <a:pPr marL="285750" indent="-285750">
              <a:buFont typeface="Arial" panose="020B0604020202020204" pitchFamily="34" charset="0"/>
              <a:buChar char="•"/>
            </a:pPr>
            <a:r>
              <a:rPr lang="en-US" u="sng" dirty="0"/>
              <a:t>Solution: Machine Learning + spatial interpolation-based framework</a:t>
            </a:r>
            <a:r>
              <a:rPr lang="en-US" dirty="0"/>
              <a:t>: Harmonizing </a:t>
            </a:r>
            <a:r>
              <a:rPr lang="en-US" sz="1800" dirty="0"/>
              <a:t>datasets to </a:t>
            </a:r>
            <a:r>
              <a:rPr lang="en-US" dirty="0"/>
              <a:t>high-resolution </a:t>
            </a:r>
          </a:p>
        </p:txBody>
      </p:sp>
      <p:sp>
        <p:nvSpPr>
          <p:cNvPr id="3" name="TextBox 2">
            <a:extLst>
              <a:ext uri="{FF2B5EF4-FFF2-40B4-BE49-F238E27FC236}">
                <a16:creationId xmlns:a16="http://schemas.microsoft.com/office/drawing/2014/main" id="{47362F07-4913-5AB4-655D-190F6C4B7BB8}"/>
              </a:ext>
            </a:extLst>
          </p:cNvPr>
          <p:cNvSpPr txBox="1"/>
          <p:nvPr/>
        </p:nvSpPr>
        <p:spPr>
          <a:xfrm>
            <a:off x="6024776" y="6425834"/>
            <a:ext cx="3182315" cy="261610"/>
          </a:xfrm>
          <a:prstGeom prst="rect">
            <a:avLst/>
          </a:prstGeom>
          <a:noFill/>
        </p:spPr>
        <p:txBody>
          <a:bodyPr wrap="square" rtlCol="0">
            <a:spAutoFit/>
          </a:bodyPr>
          <a:lstStyle/>
          <a:p>
            <a:r>
              <a:rPr lang="en-US" sz="1100" i="1" dirty="0"/>
              <a:t>*Developed by Ariel Wang &amp; Xing Weng in Veg APD</a:t>
            </a:r>
          </a:p>
        </p:txBody>
      </p:sp>
    </p:spTree>
    <p:extLst>
      <p:ext uri="{BB962C8B-B14F-4D97-AF65-F5344CB8AC3E}">
        <p14:creationId xmlns:p14="http://schemas.microsoft.com/office/powerpoint/2010/main" val="36666021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1060582" y="443283"/>
            <a:ext cx="9144000" cy="7316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i="1" u="sng">
                <a:solidFill>
                  <a:schemeClr val="accent1">
                    <a:lumMod val="50000"/>
                  </a:schemeClr>
                </a:solidFill>
                <a:latin typeface="Calibri Light" panose="020F0302020204030204" pitchFamily="34" charset="0"/>
              </a:rPr>
              <a:t>Resolution Issue of Weather Data</a:t>
            </a:r>
            <a:endParaRPr lang="en-US" sz="4000" i="1" u="sng">
              <a:solidFill>
                <a:schemeClr val="accent1">
                  <a:lumMod val="50000"/>
                </a:schemeClr>
              </a:solidFill>
            </a:endParaRPr>
          </a:p>
        </p:txBody>
      </p:sp>
      <p:sp>
        <p:nvSpPr>
          <p:cNvPr id="4" name="Text Placeholder 3">
            <a:extLst>
              <a:ext uri="{FF2B5EF4-FFF2-40B4-BE49-F238E27FC236}">
                <a16:creationId xmlns:a16="http://schemas.microsoft.com/office/drawing/2014/main" id="{6E725962-AA6E-3764-10EC-09E349BF7BE0}"/>
              </a:ext>
            </a:extLst>
          </p:cNvPr>
          <p:cNvSpPr txBox="1">
            <a:spLocks/>
          </p:cNvSpPr>
          <p:nvPr/>
        </p:nvSpPr>
        <p:spPr>
          <a:xfrm>
            <a:off x="1060582" y="1279089"/>
            <a:ext cx="10233899" cy="404636"/>
          </a:xfrm>
          <a:prstGeom prst="rect">
            <a:avLst/>
          </a:prstGeom>
        </p:spPr>
        <p:txBody>
          <a:bodyPr>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a:t>ECMWF Reanalysis V5 (ERA5) : Low spatial resolution (28km); Extended (1979-present) daily temporal records.  </a:t>
            </a:r>
          </a:p>
        </p:txBody>
      </p:sp>
      <p:grpSp>
        <p:nvGrpSpPr>
          <p:cNvPr id="54" name="Group 53">
            <a:extLst>
              <a:ext uri="{FF2B5EF4-FFF2-40B4-BE49-F238E27FC236}">
                <a16:creationId xmlns:a16="http://schemas.microsoft.com/office/drawing/2014/main" id="{BB036D7E-F778-81C0-0B79-7BED73A349C2}"/>
              </a:ext>
            </a:extLst>
          </p:cNvPr>
          <p:cNvGrpSpPr/>
          <p:nvPr/>
        </p:nvGrpSpPr>
        <p:grpSpPr>
          <a:xfrm>
            <a:off x="945773" y="2777672"/>
            <a:ext cx="4194805" cy="3926066"/>
            <a:chOff x="945773" y="2573478"/>
            <a:chExt cx="4194805" cy="3926066"/>
          </a:xfrm>
        </p:grpSpPr>
        <p:pic>
          <p:nvPicPr>
            <p:cNvPr id="7" name="Picture 6">
              <a:extLst>
                <a:ext uri="{FF2B5EF4-FFF2-40B4-BE49-F238E27FC236}">
                  <a16:creationId xmlns:a16="http://schemas.microsoft.com/office/drawing/2014/main" id="{7CB43FD0-7529-53F8-DE4C-8971F32C0E9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2272034" y="2573478"/>
              <a:ext cx="2868544" cy="3381863"/>
            </a:xfrm>
            <a:prstGeom prst="rect">
              <a:avLst/>
            </a:prstGeom>
          </p:spPr>
        </p:pic>
        <p:sp>
          <p:nvSpPr>
            <p:cNvPr id="12" name="TextBox 11">
              <a:extLst>
                <a:ext uri="{FF2B5EF4-FFF2-40B4-BE49-F238E27FC236}">
                  <a16:creationId xmlns:a16="http://schemas.microsoft.com/office/drawing/2014/main" id="{48DBBE49-ED73-2254-0BE5-A295569002D1}"/>
                </a:ext>
              </a:extLst>
            </p:cNvPr>
            <p:cNvSpPr txBox="1"/>
            <p:nvPr/>
          </p:nvSpPr>
          <p:spPr>
            <a:xfrm>
              <a:off x="2414016" y="6130212"/>
              <a:ext cx="2584579" cy="369332"/>
            </a:xfrm>
            <a:prstGeom prst="rect">
              <a:avLst/>
            </a:prstGeom>
            <a:noFill/>
          </p:spPr>
          <p:txBody>
            <a:bodyPr wrap="square" rtlCol="0">
              <a:spAutoFit/>
            </a:bodyPr>
            <a:lstStyle/>
            <a:p>
              <a:r>
                <a:rPr lang="en-US"/>
                <a:t>ERA5 Max Temperature</a:t>
              </a:r>
            </a:p>
          </p:txBody>
        </p:sp>
        <p:sp>
          <p:nvSpPr>
            <p:cNvPr id="16" name="Rectangle 15">
              <a:extLst>
                <a:ext uri="{FF2B5EF4-FFF2-40B4-BE49-F238E27FC236}">
                  <a16:creationId xmlns:a16="http://schemas.microsoft.com/office/drawing/2014/main" id="{C730CBBA-5438-1BB7-FC3E-835A799152A0}"/>
                </a:ext>
              </a:extLst>
            </p:cNvPr>
            <p:cNvSpPr/>
            <p:nvPr/>
          </p:nvSpPr>
          <p:spPr>
            <a:xfrm>
              <a:off x="1294960" y="3804065"/>
              <a:ext cx="404324" cy="37322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Arrow Connector 17">
              <a:extLst>
                <a:ext uri="{FF2B5EF4-FFF2-40B4-BE49-F238E27FC236}">
                  <a16:creationId xmlns:a16="http://schemas.microsoft.com/office/drawing/2014/main" id="{07513E80-F135-F75D-61DE-762C4E521C01}"/>
                </a:ext>
              </a:extLst>
            </p:cNvPr>
            <p:cNvCxnSpPr>
              <a:cxnSpLocks/>
            </p:cNvCxnSpPr>
            <p:nvPr/>
          </p:nvCxnSpPr>
          <p:spPr>
            <a:xfrm>
              <a:off x="1288204" y="3682534"/>
              <a:ext cx="404324" cy="0"/>
            </a:xfrm>
            <a:prstGeom prst="straightConnector1">
              <a:avLst/>
            </a:prstGeom>
            <a:ln>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D9FFD83C-8840-6874-DB1C-744A00C84368}"/>
                </a:ext>
              </a:extLst>
            </p:cNvPr>
            <p:cNvCxnSpPr>
              <a:cxnSpLocks/>
            </p:cNvCxnSpPr>
            <p:nvPr/>
          </p:nvCxnSpPr>
          <p:spPr>
            <a:xfrm>
              <a:off x="1222627" y="3804065"/>
              <a:ext cx="0" cy="373224"/>
            </a:xfrm>
            <a:prstGeom prst="straightConnector1">
              <a:avLst/>
            </a:prstGeom>
            <a:ln>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F6272827-6FD3-C491-ECC5-616854B9DA40}"/>
                </a:ext>
              </a:extLst>
            </p:cNvPr>
            <p:cNvSpPr txBox="1"/>
            <p:nvPr/>
          </p:nvSpPr>
          <p:spPr>
            <a:xfrm>
              <a:off x="1229771" y="3403600"/>
              <a:ext cx="615818" cy="276999"/>
            </a:xfrm>
            <a:prstGeom prst="rect">
              <a:avLst/>
            </a:prstGeom>
            <a:noFill/>
          </p:spPr>
          <p:txBody>
            <a:bodyPr wrap="square" rtlCol="0">
              <a:spAutoFit/>
            </a:bodyPr>
            <a:lstStyle/>
            <a:p>
              <a:r>
                <a:rPr lang="en-US" sz="1200"/>
                <a:t>28 km</a:t>
              </a:r>
            </a:p>
          </p:txBody>
        </p:sp>
        <p:sp>
          <p:nvSpPr>
            <p:cNvPr id="24" name="TextBox 23">
              <a:extLst>
                <a:ext uri="{FF2B5EF4-FFF2-40B4-BE49-F238E27FC236}">
                  <a16:creationId xmlns:a16="http://schemas.microsoft.com/office/drawing/2014/main" id="{892028F1-03AC-5FA8-36F5-F9D01ABDD6FF}"/>
                </a:ext>
              </a:extLst>
            </p:cNvPr>
            <p:cNvSpPr txBox="1"/>
            <p:nvPr/>
          </p:nvSpPr>
          <p:spPr>
            <a:xfrm rot="16200000">
              <a:off x="776039" y="3823075"/>
              <a:ext cx="616467" cy="276999"/>
            </a:xfrm>
            <a:prstGeom prst="rect">
              <a:avLst/>
            </a:prstGeom>
            <a:noFill/>
          </p:spPr>
          <p:txBody>
            <a:bodyPr wrap="square" rtlCol="0">
              <a:spAutoFit/>
            </a:bodyPr>
            <a:lstStyle/>
            <a:p>
              <a:r>
                <a:rPr lang="en-US" sz="1200"/>
                <a:t>28 km</a:t>
              </a:r>
            </a:p>
          </p:txBody>
        </p:sp>
        <p:cxnSp>
          <p:nvCxnSpPr>
            <p:cNvPr id="26" name="Straight Connector 25">
              <a:extLst>
                <a:ext uri="{FF2B5EF4-FFF2-40B4-BE49-F238E27FC236}">
                  <a16:creationId xmlns:a16="http://schemas.microsoft.com/office/drawing/2014/main" id="{19C52438-EE45-AE90-9EA4-ED6A028292A6}"/>
                </a:ext>
              </a:extLst>
            </p:cNvPr>
            <p:cNvCxnSpPr>
              <a:cxnSpLocks/>
            </p:cNvCxnSpPr>
            <p:nvPr/>
          </p:nvCxnSpPr>
          <p:spPr>
            <a:xfrm flipV="1">
              <a:off x="1721644" y="3596292"/>
              <a:ext cx="837406" cy="206852"/>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9BC8538-234E-E8A2-4C0F-B973AC20E6EA}"/>
                </a:ext>
              </a:extLst>
            </p:cNvPr>
            <p:cNvCxnSpPr>
              <a:cxnSpLocks/>
            </p:cNvCxnSpPr>
            <p:nvPr/>
          </p:nvCxnSpPr>
          <p:spPr>
            <a:xfrm flipV="1">
              <a:off x="1721644" y="3752850"/>
              <a:ext cx="837406" cy="424439"/>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55" name="Group 54">
            <a:extLst>
              <a:ext uri="{FF2B5EF4-FFF2-40B4-BE49-F238E27FC236}">
                <a16:creationId xmlns:a16="http://schemas.microsoft.com/office/drawing/2014/main" id="{CEC16733-1ABE-46CA-52CB-ECABAFEA4AB2}"/>
              </a:ext>
            </a:extLst>
          </p:cNvPr>
          <p:cNvGrpSpPr/>
          <p:nvPr/>
        </p:nvGrpSpPr>
        <p:grpSpPr>
          <a:xfrm>
            <a:off x="5301591" y="2777673"/>
            <a:ext cx="3992196" cy="3908427"/>
            <a:chOff x="5301591" y="2573479"/>
            <a:chExt cx="3992196" cy="3908427"/>
          </a:xfrm>
        </p:grpSpPr>
        <p:pic>
          <p:nvPicPr>
            <p:cNvPr id="11" name="Picture 10">
              <a:extLst>
                <a:ext uri="{FF2B5EF4-FFF2-40B4-BE49-F238E27FC236}">
                  <a16:creationId xmlns:a16="http://schemas.microsoft.com/office/drawing/2014/main" id="{99001C14-7520-EAB3-55CF-A680DB6371B9}"/>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6126028" y="2573479"/>
              <a:ext cx="2798219" cy="3381864"/>
            </a:xfrm>
            <a:prstGeom prst="rect">
              <a:avLst/>
            </a:prstGeom>
          </p:spPr>
        </p:pic>
        <p:sp>
          <p:nvSpPr>
            <p:cNvPr id="13" name="TextBox 12">
              <a:extLst>
                <a:ext uri="{FF2B5EF4-FFF2-40B4-BE49-F238E27FC236}">
                  <a16:creationId xmlns:a16="http://schemas.microsoft.com/office/drawing/2014/main" id="{ED40BAEA-6059-01BF-513C-63213A436B11}"/>
                </a:ext>
              </a:extLst>
            </p:cNvPr>
            <p:cNvSpPr txBox="1"/>
            <p:nvPr/>
          </p:nvSpPr>
          <p:spPr>
            <a:xfrm>
              <a:off x="6709208" y="6112574"/>
              <a:ext cx="2584579" cy="369332"/>
            </a:xfrm>
            <a:prstGeom prst="rect">
              <a:avLst/>
            </a:prstGeom>
            <a:noFill/>
          </p:spPr>
          <p:txBody>
            <a:bodyPr wrap="square" rtlCol="0">
              <a:spAutoFit/>
            </a:bodyPr>
            <a:lstStyle/>
            <a:p>
              <a:r>
                <a:rPr lang="en-US"/>
                <a:t>TWC Max Temperature</a:t>
              </a:r>
            </a:p>
          </p:txBody>
        </p:sp>
        <p:sp>
          <p:nvSpPr>
            <p:cNvPr id="32" name="Rectangle 31">
              <a:extLst>
                <a:ext uri="{FF2B5EF4-FFF2-40B4-BE49-F238E27FC236}">
                  <a16:creationId xmlns:a16="http://schemas.microsoft.com/office/drawing/2014/main" id="{396805B4-5D00-3916-0629-59FE4F96CC1D}"/>
                </a:ext>
              </a:extLst>
            </p:cNvPr>
            <p:cNvSpPr/>
            <p:nvPr/>
          </p:nvSpPr>
          <p:spPr>
            <a:xfrm>
              <a:off x="5650711" y="3804065"/>
              <a:ext cx="119390" cy="12797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3" name="Straight Arrow Connector 32">
              <a:extLst>
                <a:ext uri="{FF2B5EF4-FFF2-40B4-BE49-F238E27FC236}">
                  <a16:creationId xmlns:a16="http://schemas.microsoft.com/office/drawing/2014/main" id="{C078DE34-47CB-6319-2B6A-A04B4EA24757}"/>
                </a:ext>
              </a:extLst>
            </p:cNvPr>
            <p:cNvCxnSpPr>
              <a:cxnSpLocks/>
            </p:cNvCxnSpPr>
            <p:nvPr/>
          </p:nvCxnSpPr>
          <p:spPr>
            <a:xfrm>
              <a:off x="5631656" y="3724275"/>
              <a:ext cx="164307" cy="0"/>
            </a:xfrm>
            <a:prstGeom prst="straightConnector1">
              <a:avLst/>
            </a:prstGeom>
            <a:ln>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5E86880E-E220-4190-F201-7B65AC6F7224}"/>
                </a:ext>
              </a:extLst>
            </p:cNvPr>
            <p:cNvCxnSpPr>
              <a:cxnSpLocks/>
            </p:cNvCxnSpPr>
            <p:nvPr/>
          </p:nvCxnSpPr>
          <p:spPr>
            <a:xfrm>
              <a:off x="5588689" y="3803144"/>
              <a:ext cx="0" cy="158430"/>
            </a:xfrm>
            <a:prstGeom prst="straightConnector1">
              <a:avLst/>
            </a:prstGeom>
            <a:ln>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892304CE-0573-15AF-4177-D11426B8D75D}"/>
                </a:ext>
              </a:extLst>
            </p:cNvPr>
            <p:cNvSpPr txBox="1"/>
            <p:nvPr/>
          </p:nvSpPr>
          <p:spPr>
            <a:xfrm>
              <a:off x="5496478" y="3433783"/>
              <a:ext cx="615818" cy="276999"/>
            </a:xfrm>
            <a:prstGeom prst="rect">
              <a:avLst/>
            </a:prstGeom>
            <a:noFill/>
          </p:spPr>
          <p:txBody>
            <a:bodyPr wrap="square" rtlCol="0">
              <a:spAutoFit/>
            </a:bodyPr>
            <a:lstStyle/>
            <a:p>
              <a:r>
                <a:rPr lang="en-US" sz="1200"/>
                <a:t>4 km</a:t>
              </a:r>
            </a:p>
          </p:txBody>
        </p:sp>
        <p:sp>
          <p:nvSpPr>
            <p:cNvPr id="36" name="TextBox 35">
              <a:extLst>
                <a:ext uri="{FF2B5EF4-FFF2-40B4-BE49-F238E27FC236}">
                  <a16:creationId xmlns:a16="http://schemas.microsoft.com/office/drawing/2014/main" id="{EFBE61BD-D473-5ED1-C858-519CD9430199}"/>
                </a:ext>
              </a:extLst>
            </p:cNvPr>
            <p:cNvSpPr txBox="1"/>
            <p:nvPr/>
          </p:nvSpPr>
          <p:spPr>
            <a:xfrm rot="16200000">
              <a:off x="5131857" y="3664644"/>
              <a:ext cx="616467" cy="276999"/>
            </a:xfrm>
            <a:prstGeom prst="rect">
              <a:avLst/>
            </a:prstGeom>
            <a:noFill/>
          </p:spPr>
          <p:txBody>
            <a:bodyPr wrap="square" rtlCol="0">
              <a:spAutoFit/>
            </a:bodyPr>
            <a:lstStyle/>
            <a:p>
              <a:r>
                <a:rPr lang="en-US" sz="1200"/>
                <a:t>4 km</a:t>
              </a:r>
            </a:p>
          </p:txBody>
        </p:sp>
        <p:cxnSp>
          <p:nvCxnSpPr>
            <p:cNvPr id="37" name="Straight Connector 36">
              <a:extLst>
                <a:ext uri="{FF2B5EF4-FFF2-40B4-BE49-F238E27FC236}">
                  <a16:creationId xmlns:a16="http://schemas.microsoft.com/office/drawing/2014/main" id="{8CE2CF49-69C9-0D19-D608-1B2C09CD0DB2}"/>
                </a:ext>
              </a:extLst>
            </p:cNvPr>
            <p:cNvCxnSpPr>
              <a:cxnSpLocks/>
            </p:cNvCxnSpPr>
            <p:nvPr/>
          </p:nvCxnSpPr>
          <p:spPr>
            <a:xfrm flipV="1">
              <a:off x="5770101" y="3376613"/>
              <a:ext cx="771193" cy="427452"/>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F854A347-56A4-652E-9941-A303D8B638A2}"/>
                </a:ext>
              </a:extLst>
            </p:cNvPr>
            <p:cNvCxnSpPr>
              <a:cxnSpLocks/>
            </p:cNvCxnSpPr>
            <p:nvPr/>
          </p:nvCxnSpPr>
          <p:spPr>
            <a:xfrm flipV="1">
              <a:off x="5777243" y="3403599"/>
              <a:ext cx="781129" cy="522504"/>
            </a:xfrm>
            <a:prstGeom prst="line">
              <a:avLst/>
            </a:prstGeom>
          </p:spPr>
          <p:style>
            <a:lnRef idx="1">
              <a:schemeClr val="accent1"/>
            </a:lnRef>
            <a:fillRef idx="0">
              <a:schemeClr val="accent1"/>
            </a:fillRef>
            <a:effectRef idx="0">
              <a:schemeClr val="accent1"/>
            </a:effectRef>
            <a:fontRef idx="minor">
              <a:schemeClr val="tx1"/>
            </a:fontRef>
          </p:style>
        </p:cxnSp>
      </p:grpSp>
      <p:sp>
        <p:nvSpPr>
          <p:cNvPr id="48" name="Rectangle 47">
            <a:extLst>
              <a:ext uri="{FF2B5EF4-FFF2-40B4-BE49-F238E27FC236}">
                <a16:creationId xmlns:a16="http://schemas.microsoft.com/office/drawing/2014/main" id="{15E99825-C9AC-1D6E-A93B-EE359DEB615C}"/>
              </a:ext>
            </a:extLst>
          </p:cNvPr>
          <p:cNvSpPr/>
          <p:nvPr/>
        </p:nvSpPr>
        <p:spPr>
          <a:xfrm>
            <a:off x="945772" y="2642647"/>
            <a:ext cx="8274428" cy="4061091"/>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0" name="Straight Arrow Connector 49">
            <a:extLst>
              <a:ext uri="{FF2B5EF4-FFF2-40B4-BE49-F238E27FC236}">
                <a16:creationId xmlns:a16="http://schemas.microsoft.com/office/drawing/2014/main" id="{9D61E925-395E-6D9C-EFC3-81B44599AF0F}"/>
              </a:ext>
            </a:extLst>
          </p:cNvPr>
          <p:cNvCxnSpPr>
            <a:cxnSpLocks/>
            <a:stCxn id="48" idx="3"/>
            <a:endCxn id="51" idx="1"/>
          </p:cNvCxnSpPr>
          <p:nvPr/>
        </p:nvCxnSpPr>
        <p:spPr>
          <a:xfrm flipV="1">
            <a:off x="9220200" y="4671696"/>
            <a:ext cx="1076325" cy="149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F0B8A31B-42FA-0224-8592-5D33531B2824}"/>
              </a:ext>
            </a:extLst>
          </p:cNvPr>
          <p:cNvSpPr txBox="1"/>
          <p:nvPr/>
        </p:nvSpPr>
        <p:spPr>
          <a:xfrm>
            <a:off x="10296525" y="3794533"/>
            <a:ext cx="1693587" cy="1754326"/>
          </a:xfrm>
          <a:prstGeom prst="rect">
            <a:avLst/>
          </a:prstGeom>
          <a:noFill/>
        </p:spPr>
        <p:txBody>
          <a:bodyPr wrap="square" rtlCol="0">
            <a:spAutoFit/>
          </a:bodyPr>
          <a:lstStyle/>
          <a:p>
            <a:pPr algn="ctr"/>
            <a:r>
              <a:rPr lang="en-US"/>
              <a:t>Framework Interpolated high resolution (4km) daily weather datasets</a:t>
            </a:r>
          </a:p>
        </p:txBody>
      </p:sp>
      <p:sp>
        <p:nvSpPr>
          <p:cNvPr id="2" name="Text Placeholder 3">
            <a:extLst>
              <a:ext uri="{FF2B5EF4-FFF2-40B4-BE49-F238E27FC236}">
                <a16:creationId xmlns:a16="http://schemas.microsoft.com/office/drawing/2014/main" id="{C8283E70-F220-0EF3-63D9-8EACFDCC07A6}"/>
              </a:ext>
            </a:extLst>
          </p:cNvPr>
          <p:cNvSpPr txBox="1">
            <a:spLocks/>
          </p:cNvSpPr>
          <p:nvPr/>
        </p:nvSpPr>
        <p:spPr>
          <a:xfrm>
            <a:off x="1060582" y="1773196"/>
            <a:ext cx="10427122" cy="875675"/>
          </a:xfrm>
          <a:prstGeom prst="rect">
            <a:avLst/>
          </a:prstGeom>
        </p:spPr>
        <p:txBody>
          <a:bodyP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700"/>
              <a:t>The Weather Company (TWC): </a:t>
            </a:r>
          </a:p>
          <a:p>
            <a:pPr lvl="1">
              <a:buFont typeface="Courier New" panose="02070309020205020404" pitchFamily="49" charset="0"/>
              <a:buChar char="o"/>
            </a:pPr>
            <a:r>
              <a:rPr lang="en-US" sz="1600"/>
              <a:t>Historical : High spatial resolution (4km); Limited (2015-2023) daily temporal records.</a:t>
            </a:r>
          </a:p>
          <a:p>
            <a:pPr lvl="1">
              <a:buFont typeface="Courier New" panose="02070309020205020404" pitchFamily="49" charset="0"/>
              <a:buChar char="o"/>
            </a:pPr>
            <a:r>
              <a:rPr lang="en-US" sz="1600"/>
              <a:t>Hi-Res Precipitation : High spatial resolution (8km); Limited (2015-2023) daily temporal records.</a:t>
            </a:r>
          </a:p>
        </p:txBody>
      </p:sp>
      <p:sp>
        <p:nvSpPr>
          <p:cNvPr id="5" name="TextBox 4">
            <a:extLst>
              <a:ext uri="{FF2B5EF4-FFF2-40B4-BE49-F238E27FC236}">
                <a16:creationId xmlns:a16="http://schemas.microsoft.com/office/drawing/2014/main" id="{78336494-07A2-AFEF-44BC-F6BB3B326DA1}"/>
              </a:ext>
            </a:extLst>
          </p:cNvPr>
          <p:cNvSpPr txBox="1"/>
          <p:nvPr/>
        </p:nvSpPr>
        <p:spPr>
          <a:xfrm>
            <a:off x="3488770" y="2930350"/>
            <a:ext cx="1590853" cy="369332"/>
          </a:xfrm>
          <a:prstGeom prst="rect">
            <a:avLst/>
          </a:prstGeom>
          <a:solidFill>
            <a:schemeClr val="accent5">
              <a:lumMod val="40000"/>
              <a:lumOff val="60000"/>
            </a:schemeClr>
          </a:solidFill>
        </p:spPr>
        <p:txBody>
          <a:bodyPr wrap="square" rtlCol="0">
            <a:spAutoFit/>
          </a:bodyPr>
          <a:lstStyle/>
          <a:p>
            <a:r>
              <a:rPr lang="en-US"/>
              <a:t>Input Variable</a:t>
            </a:r>
          </a:p>
        </p:txBody>
      </p:sp>
      <p:sp>
        <p:nvSpPr>
          <p:cNvPr id="6" name="TextBox 5">
            <a:extLst>
              <a:ext uri="{FF2B5EF4-FFF2-40B4-BE49-F238E27FC236}">
                <a16:creationId xmlns:a16="http://schemas.microsoft.com/office/drawing/2014/main" id="{02E82B1F-8C1E-18D3-20EF-F680A1F852F8}"/>
              </a:ext>
            </a:extLst>
          </p:cNvPr>
          <p:cNvSpPr txBox="1"/>
          <p:nvPr/>
        </p:nvSpPr>
        <p:spPr>
          <a:xfrm>
            <a:off x="7101004" y="2930350"/>
            <a:ext cx="2119196" cy="369332"/>
          </a:xfrm>
          <a:prstGeom prst="rect">
            <a:avLst/>
          </a:prstGeom>
          <a:solidFill>
            <a:schemeClr val="accent6">
              <a:lumMod val="40000"/>
              <a:lumOff val="60000"/>
            </a:schemeClr>
          </a:solidFill>
        </p:spPr>
        <p:txBody>
          <a:bodyPr wrap="square" rtlCol="0">
            <a:spAutoFit/>
          </a:bodyPr>
          <a:lstStyle/>
          <a:p>
            <a:r>
              <a:rPr lang="en-US" dirty="0"/>
              <a:t>Training Data</a:t>
            </a:r>
          </a:p>
        </p:txBody>
      </p:sp>
      <p:sp>
        <p:nvSpPr>
          <p:cNvPr id="8" name="Slide Number Placeholder 7">
            <a:extLst>
              <a:ext uri="{FF2B5EF4-FFF2-40B4-BE49-F238E27FC236}">
                <a16:creationId xmlns:a16="http://schemas.microsoft.com/office/drawing/2014/main" id="{CB0C19E4-1189-79AC-0F7A-7BEC20992E77}"/>
              </a:ext>
            </a:extLst>
          </p:cNvPr>
          <p:cNvSpPr>
            <a:spLocks noGrp="1"/>
          </p:cNvSpPr>
          <p:nvPr>
            <p:ph type="sldNum" sz="quarter" idx="12"/>
          </p:nvPr>
        </p:nvSpPr>
        <p:spPr/>
        <p:txBody>
          <a:bodyPr/>
          <a:lstStyle/>
          <a:p>
            <a:fld id="{EEAD9179-7A6B-4268-BEB2-F3B8EB06115B}" type="slidenum">
              <a:rPr lang="en-US" noProof="0" smtClean="0"/>
              <a:t>6</a:t>
            </a:fld>
            <a:endParaRPr lang="en-US" noProof="0"/>
          </a:p>
        </p:txBody>
      </p:sp>
      <p:grpSp>
        <p:nvGrpSpPr>
          <p:cNvPr id="28" name="Group 27">
            <a:extLst>
              <a:ext uri="{FF2B5EF4-FFF2-40B4-BE49-F238E27FC236}">
                <a16:creationId xmlns:a16="http://schemas.microsoft.com/office/drawing/2014/main" id="{CF4A64E6-4814-A528-A185-C4967DF9B577}"/>
              </a:ext>
            </a:extLst>
          </p:cNvPr>
          <p:cNvGrpSpPr/>
          <p:nvPr/>
        </p:nvGrpSpPr>
        <p:grpSpPr>
          <a:xfrm>
            <a:off x="12643" y="3006311"/>
            <a:ext cx="867697" cy="2924583"/>
            <a:chOff x="12643" y="2802117"/>
            <a:chExt cx="867697" cy="2924583"/>
          </a:xfrm>
        </p:grpSpPr>
        <p:pic>
          <p:nvPicPr>
            <p:cNvPr id="22" name="Picture 21" descr="A yellow and green rectangle&#10;&#10;Description automatically generated">
              <a:extLst>
                <a:ext uri="{FF2B5EF4-FFF2-40B4-BE49-F238E27FC236}">
                  <a16:creationId xmlns:a16="http://schemas.microsoft.com/office/drawing/2014/main" id="{00D24C8B-9622-D661-731F-2D9D96E1D3D5}"/>
                </a:ext>
              </a:extLst>
            </p:cNvPr>
            <p:cNvPicPr>
              <a:picLocks noChangeAspect="1"/>
            </p:cNvPicPr>
            <p:nvPr/>
          </p:nvPicPr>
          <p:blipFill rotWithShape="1">
            <a:blip r:embed="rId6">
              <a:extLst>
                <a:ext uri="{28A0092B-C50C-407E-A947-70E740481C1C}">
                  <a14:useLocalDpi xmlns:a14="http://schemas.microsoft.com/office/drawing/2010/main" val="0"/>
                </a:ext>
              </a:extLst>
            </a:blip>
            <a:srcRect l="9143" r="16177"/>
            <a:stretch/>
          </p:blipFill>
          <p:spPr>
            <a:xfrm>
              <a:off x="332547" y="2802117"/>
              <a:ext cx="547793" cy="2924583"/>
            </a:xfrm>
            <a:prstGeom prst="rect">
              <a:avLst/>
            </a:prstGeom>
          </p:spPr>
        </p:pic>
        <p:sp>
          <p:nvSpPr>
            <p:cNvPr id="25" name="TextBox 24">
              <a:extLst>
                <a:ext uri="{FF2B5EF4-FFF2-40B4-BE49-F238E27FC236}">
                  <a16:creationId xmlns:a16="http://schemas.microsoft.com/office/drawing/2014/main" id="{6DE7AC48-BFBE-6DB8-F329-F8493A883501}"/>
                </a:ext>
              </a:extLst>
            </p:cNvPr>
            <p:cNvSpPr txBox="1"/>
            <p:nvPr/>
          </p:nvSpPr>
          <p:spPr>
            <a:xfrm rot="16200000">
              <a:off x="-299798" y="3757262"/>
              <a:ext cx="994213" cy="369332"/>
            </a:xfrm>
            <a:prstGeom prst="rect">
              <a:avLst/>
            </a:prstGeom>
            <a:noFill/>
          </p:spPr>
          <p:txBody>
            <a:bodyPr wrap="square" rtlCol="0">
              <a:spAutoFit/>
            </a:bodyPr>
            <a:lstStyle/>
            <a:p>
              <a:r>
                <a:rPr lang="en-US"/>
                <a:t>deg C</a:t>
              </a:r>
            </a:p>
          </p:txBody>
        </p:sp>
      </p:grpSp>
    </p:spTree>
    <p:extLst>
      <p:ext uri="{BB962C8B-B14F-4D97-AF65-F5344CB8AC3E}">
        <p14:creationId xmlns:p14="http://schemas.microsoft.com/office/powerpoint/2010/main" val="2686883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4"/>
                                        </p:tgtEl>
                                        <p:attrNameLst>
                                          <p:attrName>style.visibility</p:attrName>
                                        </p:attrNameLst>
                                      </p:cBhvr>
                                      <p:to>
                                        <p:strVal val="visible"/>
                                      </p:to>
                                    </p:set>
                                    <p:animEffect transition="in" filter="fade">
                                      <p:cBhvr>
                                        <p:cTn id="12" dur="500"/>
                                        <p:tgtEl>
                                          <p:spTgt spid="54"/>
                                        </p:tgtEl>
                                      </p:cBhvr>
                                    </p:animEffect>
                                  </p:childTnLst>
                                </p:cTn>
                              </p:par>
                              <p:par>
                                <p:cTn id="13" presetID="10" presetClass="entr" presetSubtype="0" fill="hold" nodeType="withEffect">
                                  <p:stCondLst>
                                    <p:cond delay="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2"/>
                                        </p:tgtEl>
                                        <p:attrNameLst>
                                          <p:attrName>style.visibility</p:attrName>
                                        </p:attrNameLst>
                                      </p:cBhvr>
                                      <p:to>
                                        <p:strVal val="visible"/>
                                      </p:to>
                                    </p:set>
                                    <p:animEffect transition="in" filter="fade">
                                      <p:cBhvr>
                                        <p:cTn id="20" dur="500"/>
                                        <p:tgtEl>
                                          <p:spTgt spid="2"/>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55"/>
                                        </p:tgtEl>
                                        <p:attrNameLst>
                                          <p:attrName>style.visibility</p:attrName>
                                        </p:attrNameLst>
                                      </p:cBhvr>
                                      <p:to>
                                        <p:strVal val="visible"/>
                                      </p:to>
                                    </p:set>
                                    <p:animEffect transition="in" filter="fade">
                                      <p:cBhvr>
                                        <p:cTn id="25" dur="500"/>
                                        <p:tgtEl>
                                          <p:spTgt spid="55"/>
                                        </p:tgtEl>
                                      </p:cBhvr>
                                    </p:animEffect>
                                  </p:childTnLst>
                                </p:cTn>
                              </p:par>
                            </p:childTnLst>
                          </p:cTn>
                        </p:par>
                      </p:childTnLst>
                    </p:cTn>
                  </p:par>
                  <p:par>
                    <p:cTn id="26" fill="hold">
                      <p:stCondLst>
                        <p:cond delay="indefinite"/>
                      </p:stCondLst>
                      <p:childTnLst>
                        <p:par>
                          <p:cTn id="27" fill="hold">
                            <p:stCondLst>
                              <p:cond delay="0"/>
                            </p:stCondLst>
                            <p:childTnLst>
                              <p:par>
                                <p:cTn id="28" presetID="53" presetClass="entr" presetSubtype="16" fill="hold" grpId="0" nodeType="clickEffect">
                                  <p:stCondLst>
                                    <p:cond delay="0"/>
                                  </p:stCondLst>
                                  <p:childTnLst>
                                    <p:set>
                                      <p:cBhvr>
                                        <p:cTn id="29" dur="1" fill="hold">
                                          <p:stCondLst>
                                            <p:cond delay="0"/>
                                          </p:stCondLst>
                                        </p:cTn>
                                        <p:tgtEl>
                                          <p:spTgt spid="6"/>
                                        </p:tgtEl>
                                        <p:attrNameLst>
                                          <p:attrName>style.visibility</p:attrName>
                                        </p:attrNameLst>
                                      </p:cBhvr>
                                      <p:to>
                                        <p:strVal val="visible"/>
                                      </p:to>
                                    </p:set>
                                    <p:anim calcmode="lin" valueType="num">
                                      <p:cBhvr>
                                        <p:cTn id="30" dur="500" fill="hold"/>
                                        <p:tgtEl>
                                          <p:spTgt spid="6"/>
                                        </p:tgtEl>
                                        <p:attrNameLst>
                                          <p:attrName>ppt_w</p:attrName>
                                        </p:attrNameLst>
                                      </p:cBhvr>
                                      <p:tavLst>
                                        <p:tav tm="0">
                                          <p:val>
                                            <p:fltVal val="0"/>
                                          </p:val>
                                        </p:tav>
                                        <p:tav tm="100000">
                                          <p:val>
                                            <p:strVal val="#ppt_w"/>
                                          </p:val>
                                        </p:tav>
                                      </p:tavLst>
                                    </p:anim>
                                    <p:anim calcmode="lin" valueType="num">
                                      <p:cBhvr>
                                        <p:cTn id="31" dur="500" fill="hold"/>
                                        <p:tgtEl>
                                          <p:spTgt spid="6"/>
                                        </p:tgtEl>
                                        <p:attrNameLst>
                                          <p:attrName>ppt_h</p:attrName>
                                        </p:attrNameLst>
                                      </p:cBhvr>
                                      <p:tavLst>
                                        <p:tav tm="0">
                                          <p:val>
                                            <p:fltVal val="0"/>
                                          </p:val>
                                        </p:tav>
                                        <p:tav tm="100000">
                                          <p:val>
                                            <p:strVal val="#ppt_h"/>
                                          </p:val>
                                        </p:tav>
                                      </p:tavLst>
                                    </p:anim>
                                    <p:animEffect transition="in" filter="fade">
                                      <p:cBhvr>
                                        <p:cTn id="32" dur="500"/>
                                        <p:tgtEl>
                                          <p:spTgt spid="6"/>
                                        </p:tgtEl>
                                      </p:cBhvr>
                                    </p:animEffect>
                                  </p:childTnLst>
                                </p:cTn>
                              </p:par>
                              <p:par>
                                <p:cTn id="33" presetID="53" presetClass="entr" presetSubtype="16" fill="hold" grpId="0" nodeType="withEffect">
                                  <p:stCondLst>
                                    <p:cond delay="0"/>
                                  </p:stCondLst>
                                  <p:childTnLst>
                                    <p:set>
                                      <p:cBhvr>
                                        <p:cTn id="34" dur="1" fill="hold">
                                          <p:stCondLst>
                                            <p:cond delay="0"/>
                                          </p:stCondLst>
                                        </p:cTn>
                                        <p:tgtEl>
                                          <p:spTgt spid="5"/>
                                        </p:tgtEl>
                                        <p:attrNameLst>
                                          <p:attrName>style.visibility</p:attrName>
                                        </p:attrNameLst>
                                      </p:cBhvr>
                                      <p:to>
                                        <p:strVal val="visible"/>
                                      </p:to>
                                    </p:set>
                                    <p:anim calcmode="lin" valueType="num">
                                      <p:cBhvr>
                                        <p:cTn id="35" dur="500" fill="hold"/>
                                        <p:tgtEl>
                                          <p:spTgt spid="5"/>
                                        </p:tgtEl>
                                        <p:attrNameLst>
                                          <p:attrName>ppt_w</p:attrName>
                                        </p:attrNameLst>
                                      </p:cBhvr>
                                      <p:tavLst>
                                        <p:tav tm="0">
                                          <p:val>
                                            <p:fltVal val="0"/>
                                          </p:val>
                                        </p:tav>
                                        <p:tav tm="100000">
                                          <p:val>
                                            <p:strVal val="#ppt_w"/>
                                          </p:val>
                                        </p:tav>
                                      </p:tavLst>
                                    </p:anim>
                                    <p:anim calcmode="lin" valueType="num">
                                      <p:cBhvr>
                                        <p:cTn id="36" dur="500" fill="hold"/>
                                        <p:tgtEl>
                                          <p:spTgt spid="5"/>
                                        </p:tgtEl>
                                        <p:attrNameLst>
                                          <p:attrName>ppt_h</p:attrName>
                                        </p:attrNameLst>
                                      </p:cBhvr>
                                      <p:tavLst>
                                        <p:tav tm="0">
                                          <p:val>
                                            <p:fltVal val="0"/>
                                          </p:val>
                                        </p:tav>
                                        <p:tav tm="100000">
                                          <p:val>
                                            <p:strVal val="#ppt_h"/>
                                          </p:val>
                                        </p:tav>
                                      </p:tavLst>
                                    </p:anim>
                                    <p:animEffect transition="in" filter="fade">
                                      <p:cBhvr>
                                        <p:cTn id="37" dur="500"/>
                                        <p:tgtEl>
                                          <p:spTgt spid="5"/>
                                        </p:tgtEl>
                                      </p:cBhvr>
                                    </p:animEffect>
                                  </p:childTnLst>
                                </p:cTn>
                              </p:par>
                            </p:childTnLst>
                          </p:cTn>
                        </p:par>
                        <p:par>
                          <p:cTn id="38" fill="hold">
                            <p:stCondLst>
                              <p:cond delay="500"/>
                            </p:stCondLst>
                            <p:childTnLst>
                              <p:par>
                                <p:cTn id="39" presetID="21" presetClass="entr" presetSubtype="1" fill="hold" grpId="0" nodeType="afterEffect">
                                  <p:stCondLst>
                                    <p:cond delay="0"/>
                                  </p:stCondLst>
                                  <p:childTnLst>
                                    <p:set>
                                      <p:cBhvr>
                                        <p:cTn id="40" dur="1" fill="hold">
                                          <p:stCondLst>
                                            <p:cond delay="0"/>
                                          </p:stCondLst>
                                        </p:cTn>
                                        <p:tgtEl>
                                          <p:spTgt spid="48"/>
                                        </p:tgtEl>
                                        <p:attrNameLst>
                                          <p:attrName>style.visibility</p:attrName>
                                        </p:attrNameLst>
                                      </p:cBhvr>
                                      <p:to>
                                        <p:strVal val="visible"/>
                                      </p:to>
                                    </p:set>
                                    <p:animEffect transition="in" filter="wheel(1)">
                                      <p:cBhvr>
                                        <p:cTn id="41" dur="1000"/>
                                        <p:tgtEl>
                                          <p:spTgt spid="48"/>
                                        </p:tgtEl>
                                      </p:cBhvr>
                                    </p:animEffect>
                                  </p:childTnLst>
                                </p:cTn>
                              </p:par>
                            </p:childTnLst>
                          </p:cTn>
                        </p:par>
                        <p:par>
                          <p:cTn id="42" fill="hold">
                            <p:stCondLst>
                              <p:cond delay="1500"/>
                            </p:stCondLst>
                            <p:childTnLst>
                              <p:par>
                                <p:cTn id="43" presetID="21" presetClass="entr" presetSubtype="1" fill="hold" nodeType="afterEffect">
                                  <p:stCondLst>
                                    <p:cond delay="0"/>
                                  </p:stCondLst>
                                  <p:childTnLst>
                                    <p:set>
                                      <p:cBhvr>
                                        <p:cTn id="44" dur="1" fill="hold">
                                          <p:stCondLst>
                                            <p:cond delay="0"/>
                                          </p:stCondLst>
                                        </p:cTn>
                                        <p:tgtEl>
                                          <p:spTgt spid="50"/>
                                        </p:tgtEl>
                                        <p:attrNameLst>
                                          <p:attrName>style.visibility</p:attrName>
                                        </p:attrNameLst>
                                      </p:cBhvr>
                                      <p:to>
                                        <p:strVal val="visible"/>
                                      </p:to>
                                    </p:set>
                                    <p:animEffect transition="in" filter="wheel(1)">
                                      <p:cBhvr>
                                        <p:cTn id="45" dur="1000"/>
                                        <p:tgtEl>
                                          <p:spTgt spid="50"/>
                                        </p:tgtEl>
                                      </p:cBhvr>
                                    </p:animEffect>
                                  </p:childTnLst>
                                </p:cTn>
                              </p:par>
                            </p:childTnLst>
                          </p:cTn>
                        </p:par>
                        <p:par>
                          <p:cTn id="46" fill="hold">
                            <p:stCondLst>
                              <p:cond delay="2500"/>
                            </p:stCondLst>
                            <p:childTnLst>
                              <p:par>
                                <p:cTn id="47" presetID="21" presetClass="entr" presetSubtype="1" fill="hold" grpId="0" nodeType="afterEffect">
                                  <p:stCondLst>
                                    <p:cond delay="0"/>
                                  </p:stCondLst>
                                  <p:childTnLst>
                                    <p:set>
                                      <p:cBhvr>
                                        <p:cTn id="48" dur="1" fill="hold">
                                          <p:stCondLst>
                                            <p:cond delay="0"/>
                                          </p:stCondLst>
                                        </p:cTn>
                                        <p:tgtEl>
                                          <p:spTgt spid="51"/>
                                        </p:tgtEl>
                                        <p:attrNameLst>
                                          <p:attrName>style.visibility</p:attrName>
                                        </p:attrNameLst>
                                      </p:cBhvr>
                                      <p:to>
                                        <p:strVal val="visible"/>
                                      </p:to>
                                    </p:set>
                                    <p:animEffect transition="in" filter="wheel(1)">
                                      <p:cBhvr>
                                        <p:cTn id="49" dur="10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8" grpId="0" animBg="1"/>
      <p:bldP spid="51" grpId="0"/>
      <p:bldP spid="2" grpId="0"/>
      <p:bldP spid="5" grpId="0" animBg="1"/>
      <p:bldP spid="6" grpId="0" animBg="1"/>
    </p:bldLst>
  </p:timing>
  <p:extLst>
    <p:ext uri="{6950BFC3-D8DA-4A85-94F7-54DA5524770B}">
      <p188:commentRel xmlns:p188="http://schemas.microsoft.com/office/powerpoint/2018/8/main" r:id="rId3"/>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Oval 75">
            <a:extLst>
              <a:ext uri="{FF2B5EF4-FFF2-40B4-BE49-F238E27FC236}">
                <a16:creationId xmlns:a16="http://schemas.microsoft.com/office/drawing/2014/main" id="{92C4EE77-FE88-166F-8FBC-34CBAAD6B816}"/>
              </a:ext>
            </a:extLst>
          </p:cNvPr>
          <p:cNvSpPr/>
          <p:nvPr/>
        </p:nvSpPr>
        <p:spPr>
          <a:xfrm>
            <a:off x="4333874" y="489304"/>
            <a:ext cx="7210425" cy="6063896"/>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54">
            <a:extLst>
              <a:ext uri="{FF2B5EF4-FFF2-40B4-BE49-F238E27FC236}">
                <a16:creationId xmlns:a16="http://schemas.microsoft.com/office/drawing/2014/main" id="{E5C7310A-3226-177F-2301-3DE6D935F21A}"/>
              </a:ext>
            </a:extLst>
          </p:cNvPr>
          <p:cNvSpPr/>
          <p:nvPr/>
        </p:nvSpPr>
        <p:spPr>
          <a:xfrm>
            <a:off x="0" y="8125"/>
            <a:ext cx="3495674" cy="68498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166083" y="2813481"/>
            <a:ext cx="3125586" cy="86591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i="1" u="sng">
                <a:solidFill>
                  <a:schemeClr val="accent1">
                    <a:lumMod val="50000"/>
                  </a:schemeClr>
                </a:solidFill>
                <a:latin typeface="Calibri Light" panose="020F0302020204030204" pitchFamily="34" charset="0"/>
              </a:rPr>
              <a:t>Business Impact</a:t>
            </a:r>
            <a:endParaRPr lang="en-US" sz="3600" b="1" i="1" u="sng">
              <a:solidFill>
                <a:schemeClr val="accent1">
                  <a:lumMod val="50000"/>
                </a:schemeClr>
              </a:solidFill>
            </a:endParaRPr>
          </a:p>
        </p:txBody>
      </p:sp>
      <p:sp>
        <p:nvSpPr>
          <p:cNvPr id="3" name="Slide Number Placeholder 2">
            <a:extLst>
              <a:ext uri="{FF2B5EF4-FFF2-40B4-BE49-F238E27FC236}">
                <a16:creationId xmlns:a16="http://schemas.microsoft.com/office/drawing/2014/main" id="{CD848677-760A-76BD-3CD9-CFD89965D462}"/>
              </a:ext>
            </a:extLst>
          </p:cNvPr>
          <p:cNvSpPr>
            <a:spLocks noGrp="1"/>
          </p:cNvSpPr>
          <p:nvPr>
            <p:ph type="sldNum" sz="quarter" idx="12"/>
          </p:nvPr>
        </p:nvSpPr>
        <p:spPr/>
        <p:txBody>
          <a:bodyPr/>
          <a:lstStyle/>
          <a:p>
            <a:fld id="{EEAD9179-7A6B-4268-BEB2-F3B8EB06115B}" type="slidenum">
              <a:rPr lang="en-US" noProof="0" smtClean="0"/>
              <a:t>7</a:t>
            </a:fld>
            <a:endParaRPr lang="en-US" noProof="0"/>
          </a:p>
        </p:txBody>
      </p:sp>
      <p:graphicFrame>
        <p:nvGraphicFramePr>
          <p:cNvPr id="12" name="Diagram 11">
            <a:extLst>
              <a:ext uri="{FF2B5EF4-FFF2-40B4-BE49-F238E27FC236}">
                <a16:creationId xmlns:a16="http://schemas.microsoft.com/office/drawing/2014/main" id="{ADEE726F-7E49-178D-0C5B-D383F77FC99D}"/>
              </a:ext>
            </a:extLst>
          </p:cNvPr>
          <p:cNvGraphicFramePr/>
          <p:nvPr/>
        </p:nvGraphicFramePr>
        <p:xfrm>
          <a:off x="4789084" y="665003"/>
          <a:ext cx="6336116" cy="490515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6" name="Oval 15">
            <a:extLst>
              <a:ext uri="{FF2B5EF4-FFF2-40B4-BE49-F238E27FC236}">
                <a16:creationId xmlns:a16="http://schemas.microsoft.com/office/drawing/2014/main" id="{1B10CDD7-504B-1C05-A4E1-1590360071E2}"/>
              </a:ext>
            </a:extLst>
          </p:cNvPr>
          <p:cNvSpPr/>
          <p:nvPr/>
        </p:nvSpPr>
        <p:spPr>
          <a:xfrm>
            <a:off x="4644798" y="527404"/>
            <a:ext cx="1337375" cy="1242134"/>
          </a:xfrm>
          <a:prstGeom prst="ellipse">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i="1">
                <a:solidFill>
                  <a:schemeClr val="tx1"/>
                </a:solidFill>
              </a:rPr>
              <a:t>Env. Clustering</a:t>
            </a:r>
          </a:p>
        </p:txBody>
      </p:sp>
      <p:sp>
        <p:nvSpPr>
          <p:cNvPr id="27" name="Oval 26">
            <a:extLst>
              <a:ext uri="{FF2B5EF4-FFF2-40B4-BE49-F238E27FC236}">
                <a16:creationId xmlns:a16="http://schemas.microsoft.com/office/drawing/2014/main" id="{3D06C40A-A0F5-6376-063E-518E3CA29771}"/>
              </a:ext>
            </a:extLst>
          </p:cNvPr>
          <p:cNvSpPr/>
          <p:nvPr/>
        </p:nvSpPr>
        <p:spPr>
          <a:xfrm>
            <a:off x="9932110" y="565504"/>
            <a:ext cx="1337375" cy="1242134"/>
          </a:xfrm>
          <a:prstGeom prst="ellipse">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i="1">
                <a:solidFill>
                  <a:schemeClr val="tx1"/>
                </a:solidFill>
              </a:rPr>
              <a:t>Other Env. Model</a:t>
            </a:r>
          </a:p>
        </p:txBody>
      </p:sp>
      <p:sp>
        <p:nvSpPr>
          <p:cNvPr id="28" name="Oval 27">
            <a:extLst>
              <a:ext uri="{FF2B5EF4-FFF2-40B4-BE49-F238E27FC236}">
                <a16:creationId xmlns:a16="http://schemas.microsoft.com/office/drawing/2014/main" id="{3481FD7F-0A3C-C3F2-E212-06D782EF337B}"/>
              </a:ext>
            </a:extLst>
          </p:cNvPr>
          <p:cNvSpPr/>
          <p:nvPr/>
        </p:nvSpPr>
        <p:spPr>
          <a:xfrm>
            <a:off x="4644798" y="5086689"/>
            <a:ext cx="1337375" cy="1242134"/>
          </a:xfrm>
          <a:prstGeom prst="ellipse">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i="1">
                <a:solidFill>
                  <a:schemeClr val="tx1"/>
                </a:solidFill>
              </a:rPr>
              <a:t>Disease Models</a:t>
            </a:r>
          </a:p>
        </p:txBody>
      </p:sp>
      <p:sp>
        <p:nvSpPr>
          <p:cNvPr id="29" name="Oval 28">
            <a:extLst>
              <a:ext uri="{FF2B5EF4-FFF2-40B4-BE49-F238E27FC236}">
                <a16:creationId xmlns:a16="http://schemas.microsoft.com/office/drawing/2014/main" id="{F11D93C6-7A0E-5736-A537-81CF1CD2CEF1}"/>
              </a:ext>
            </a:extLst>
          </p:cNvPr>
          <p:cNvSpPr/>
          <p:nvPr/>
        </p:nvSpPr>
        <p:spPr>
          <a:xfrm>
            <a:off x="9932111" y="5126562"/>
            <a:ext cx="1337375" cy="1242134"/>
          </a:xfrm>
          <a:prstGeom prst="ellipse">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i="1">
                <a:solidFill>
                  <a:schemeClr val="tx1"/>
                </a:solidFill>
              </a:rPr>
              <a:t>Crop Models</a:t>
            </a:r>
          </a:p>
        </p:txBody>
      </p:sp>
      <p:pic>
        <p:nvPicPr>
          <p:cNvPr id="59" name="Picture 58" descr="A picture containing circle, graphics, font, symbol&#10;&#10;Description automatically generated">
            <a:extLst>
              <a:ext uri="{FF2B5EF4-FFF2-40B4-BE49-F238E27FC236}">
                <a16:creationId xmlns:a16="http://schemas.microsoft.com/office/drawing/2014/main" id="{401BF96B-9F88-6753-ACCB-A56A59B79EE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96044" y="360516"/>
            <a:ext cx="409975" cy="409975"/>
          </a:xfrm>
          <a:prstGeom prst="rect">
            <a:avLst/>
          </a:prstGeom>
        </p:spPr>
      </p:pic>
    </p:spTree>
    <p:extLst>
      <p:ext uri="{BB962C8B-B14F-4D97-AF65-F5344CB8AC3E}">
        <p14:creationId xmlns:p14="http://schemas.microsoft.com/office/powerpoint/2010/main" val="20555949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heel(1)">
                                      <p:cBhvr>
                                        <p:cTn id="7" dur="2000"/>
                                        <p:tgtEl>
                                          <p:spTgt spid="16"/>
                                        </p:tgtEl>
                                      </p:cBhvr>
                                    </p:animEffect>
                                  </p:childTnLst>
                                </p:cTn>
                              </p:par>
                              <p:par>
                                <p:cTn id="8" presetID="21" presetClass="entr" presetSubtype="1" fill="hold" grpId="0"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wheel(1)">
                                      <p:cBhvr>
                                        <p:cTn id="10" dur="2000"/>
                                        <p:tgtEl>
                                          <p:spTgt spid="27"/>
                                        </p:tgtEl>
                                      </p:cBhvr>
                                    </p:animEffect>
                                  </p:childTnLst>
                                </p:cTn>
                              </p:par>
                              <p:par>
                                <p:cTn id="11" presetID="21" presetClass="entr" presetSubtype="1" fill="hold" grpId="0" nodeType="withEffect">
                                  <p:stCondLst>
                                    <p:cond delay="0"/>
                                  </p:stCondLst>
                                  <p:childTnLst>
                                    <p:set>
                                      <p:cBhvr>
                                        <p:cTn id="12" dur="1" fill="hold">
                                          <p:stCondLst>
                                            <p:cond delay="0"/>
                                          </p:stCondLst>
                                        </p:cTn>
                                        <p:tgtEl>
                                          <p:spTgt spid="29"/>
                                        </p:tgtEl>
                                        <p:attrNameLst>
                                          <p:attrName>style.visibility</p:attrName>
                                        </p:attrNameLst>
                                      </p:cBhvr>
                                      <p:to>
                                        <p:strVal val="visible"/>
                                      </p:to>
                                    </p:set>
                                    <p:animEffect transition="in" filter="wheel(1)">
                                      <p:cBhvr>
                                        <p:cTn id="13" dur="2000"/>
                                        <p:tgtEl>
                                          <p:spTgt spid="29"/>
                                        </p:tgtEl>
                                      </p:cBhvr>
                                    </p:animEffect>
                                  </p:childTnLst>
                                </p:cTn>
                              </p:par>
                              <p:par>
                                <p:cTn id="14" presetID="21" presetClass="entr" presetSubtype="1" fill="hold" grpId="0" nodeType="withEffect">
                                  <p:stCondLst>
                                    <p:cond delay="0"/>
                                  </p:stCondLst>
                                  <p:childTnLst>
                                    <p:set>
                                      <p:cBhvr>
                                        <p:cTn id="15" dur="1" fill="hold">
                                          <p:stCondLst>
                                            <p:cond delay="0"/>
                                          </p:stCondLst>
                                        </p:cTn>
                                        <p:tgtEl>
                                          <p:spTgt spid="28"/>
                                        </p:tgtEl>
                                        <p:attrNameLst>
                                          <p:attrName>style.visibility</p:attrName>
                                        </p:attrNameLst>
                                      </p:cBhvr>
                                      <p:to>
                                        <p:strVal val="visible"/>
                                      </p:to>
                                    </p:set>
                                    <p:animEffect transition="in" filter="wheel(1)">
                                      <p:cBhvr>
                                        <p:cTn id="16" dur="2000"/>
                                        <p:tgtEl>
                                          <p:spTgt spid="28"/>
                                        </p:tgtEl>
                                      </p:cBhvr>
                                    </p:animEffect>
                                  </p:childTnLst>
                                </p:cTn>
                              </p:par>
                            </p:childTnLst>
                          </p:cTn>
                        </p:par>
                        <p:par>
                          <p:cTn id="17" fill="hold">
                            <p:stCondLst>
                              <p:cond delay="2000"/>
                            </p:stCondLst>
                            <p:childTnLst>
                              <p:par>
                                <p:cTn id="18" presetID="21" presetClass="entr" presetSubtype="1" fill="hold" grpId="0" nodeType="afterEffect">
                                  <p:stCondLst>
                                    <p:cond delay="0"/>
                                  </p:stCondLst>
                                  <p:childTnLst>
                                    <p:set>
                                      <p:cBhvr>
                                        <p:cTn id="19" dur="1" fill="hold">
                                          <p:stCondLst>
                                            <p:cond delay="0"/>
                                          </p:stCondLst>
                                        </p:cTn>
                                        <p:tgtEl>
                                          <p:spTgt spid="76"/>
                                        </p:tgtEl>
                                        <p:attrNameLst>
                                          <p:attrName>style.visibility</p:attrName>
                                        </p:attrNameLst>
                                      </p:cBhvr>
                                      <p:to>
                                        <p:strVal val="visible"/>
                                      </p:to>
                                    </p:set>
                                    <p:animEffect transition="in" filter="wheel(1)">
                                      <p:cBhvr>
                                        <p:cTn id="20" dur="20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16" grpId="0" animBg="1"/>
      <p:bldP spid="27" grpId="0" animBg="1"/>
      <p:bldP spid="28" grpId="0" animBg="1"/>
      <p:bldP spid="29" grpId="0" animBg="1"/>
    </p:bldLst>
  </p:timing>
  <p:extLst>
    <p:ext uri="{6950BFC3-D8DA-4A85-94F7-54DA5524770B}">
      <p188:commentRel xmlns:p188="http://schemas.microsoft.com/office/powerpoint/2018/8/main" r:id="rId3"/>
    </p:ext>
  </p:extLs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1290209" y="2030140"/>
            <a:ext cx="9611581" cy="1745160"/>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spcAft>
                <a:spcPts val="600"/>
              </a:spcAft>
            </a:pPr>
            <a:r>
              <a:rPr lang="en-US" b="1" i="1" kern="1200" dirty="0">
                <a:solidFill>
                  <a:srgbClr val="10384F"/>
                </a:solidFill>
                <a:latin typeface="+mj-lt"/>
                <a:ea typeface="+mj-ea"/>
                <a:cs typeface="+mj-cs"/>
              </a:rPr>
              <a:t>2. Framework for Analysis-Ready Datasets (ARD)</a:t>
            </a:r>
          </a:p>
        </p:txBody>
      </p:sp>
      <p:sp>
        <p:nvSpPr>
          <p:cNvPr id="2" name="Slide Number Placeholder 1">
            <a:extLst>
              <a:ext uri="{FF2B5EF4-FFF2-40B4-BE49-F238E27FC236}">
                <a16:creationId xmlns:a16="http://schemas.microsoft.com/office/drawing/2014/main" id="{9619A94D-10F3-1522-3B83-A842AFB54B8D}"/>
              </a:ext>
            </a:extLst>
          </p:cNvPr>
          <p:cNvSpPr>
            <a:spLocks noGrp="1"/>
          </p:cNvSpPr>
          <p:nvPr>
            <p:ph type="sldNum" sz="quarter" idx="12"/>
          </p:nvPr>
        </p:nvSpPr>
        <p:spPr/>
        <p:txBody>
          <a:bodyPr/>
          <a:lstStyle/>
          <a:p>
            <a:fld id="{EEAD9179-7A6B-4268-BEB2-F3B8EB06115B}" type="slidenum">
              <a:rPr lang="en-US" noProof="0" smtClean="0"/>
              <a:t>8</a:t>
            </a:fld>
            <a:endParaRPr lang="en-US" noProof="0"/>
          </a:p>
        </p:txBody>
      </p:sp>
      <p:cxnSp>
        <p:nvCxnSpPr>
          <p:cNvPr id="3" name="Straight Connector 2">
            <a:extLst>
              <a:ext uri="{FF2B5EF4-FFF2-40B4-BE49-F238E27FC236}">
                <a16:creationId xmlns:a16="http://schemas.microsoft.com/office/drawing/2014/main" id="{416952F7-7C49-FE2E-C801-193C7F10F654}"/>
              </a:ext>
            </a:extLst>
          </p:cNvPr>
          <p:cNvCxnSpPr/>
          <p:nvPr/>
        </p:nvCxnSpPr>
        <p:spPr>
          <a:xfrm>
            <a:off x="933061" y="6307494"/>
            <a:ext cx="10487608" cy="0"/>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19139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E765C9-F866-A10C-05BC-B0F5CF7D4FA9}"/>
              </a:ext>
            </a:extLst>
          </p:cNvPr>
          <p:cNvSpPr txBox="1">
            <a:spLocks/>
          </p:cNvSpPr>
          <p:nvPr/>
        </p:nvSpPr>
        <p:spPr bwMode="gray">
          <a:xfrm>
            <a:off x="1060582" y="443283"/>
            <a:ext cx="9144000" cy="7316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i="1" u="sng">
                <a:solidFill>
                  <a:schemeClr val="accent1">
                    <a:lumMod val="50000"/>
                  </a:schemeClr>
                </a:solidFill>
                <a:latin typeface="Calibri Light" panose="020F0302020204030204" pitchFamily="34" charset="0"/>
              </a:rPr>
              <a:t>ARD Requirement</a:t>
            </a:r>
            <a:endParaRPr lang="en-US" sz="4000" b="1" i="1" u="sng">
              <a:solidFill>
                <a:schemeClr val="accent1">
                  <a:lumMod val="50000"/>
                </a:schemeClr>
              </a:solidFill>
            </a:endParaRPr>
          </a:p>
        </p:txBody>
      </p:sp>
      <p:sp>
        <p:nvSpPr>
          <p:cNvPr id="4" name="Text Placeholder 3">
            <a:extLst>
              <a:ext uri="{FF2B5EF4-FFF2-40B4-BE49-F238E27FC236}">
                <a16:creationId xmlns:a16="http://schemas.microsoft.com/office/drawing/2014/main" id="{6E725962-AA6E-3764-10EC-09E349BF7BE0}"/>
              </a:ext>
            </a:extLst>
          </p:cNvPr>
          <p:cNvSpPr txBox="1">
            <a:spLocks/>
          </p:cNvSpPr>
          <p:nvPr/>
        </p:nvSpPr>
        <p:spPr>
          <a:xfrm>
            <a:off x="1060581" y="1140021"/>
            <a:ext cx="10407519" cy="5156003"/>
          </a:xfrm>
          <a:prstGeom prst="rect">
            <a:avLst/>
          </a:prstGeom>
        </p:spPr>
        <p:txBody>
          <a:bodyPr lIns="91440" tIns="45720" rIns="91440" bIns="4572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buFont typeface="Wingdings" panose="05000000000000000000" pitchFamily="2" charset="2"/>
              <a:buChar char="§"/>
            </a:pPr>
            <a:r>
              <a:rPr lang="en-US" sz="2000" dirty="0"/>
              <a:t>Two Analysis-Ready Datasets (ARD) frameworks for different spatial resolutions-</a:t>
            </a:r>
          </a:p>
          <a:p>
            <a:pPr lvl="1">
              <a:lnSpc>
                <a:spcPct val="200000"/>
              </a:lnSpc>
              <a:buFont typeface="Wingdings" panose="05000000000000000000" pitchFamily="2" charset="2"/>
              <a:buChar char="ü"/>
            </a:pPr>
            <a:r>
              <a:rPr lang="en-US" sz="2000" i="1" dirty="0"/>
              <a:t>4km Resolution Framework</a:t>
            </a:r>
          </a:p>
          <a:p>
            <a:pPr lvl="1">
              <a:lnSpc>
                <a:spcPct val="200000"/>
              </a:lnSpc>
              <a:buFont typeface="Wingdings" panose="05000000000000000000" pitchFamily="2" charset="2"/>
              <a:buChar char="ü"/>
            </a:pPr>
            <a:r>
              <a:rPr lang="en-US" sz="2000" i="1" dirty="0"/>
              <a:t>100m Resolution Framework (</a:t>
            </a:r>
            <a:r>
              <a:rPr lang="en-US" sz="2000" b="1" i="1" dirty="0"/>
              <a:t>with satellite data</a:t>
            </a:r>
            <a:r>
              <a:rPr lang="en-US" sz="2000" i="1" dirty="0"/>
              <a:t>)</a:t>
            </a:r>
          </a:p>
          <a:p>
            <a:pPr>
              <a:lnSpc>
                <a:spcPct val="200000"/>
              </a:lnSpc>
              <a:buFont typeface="Wingdings" panose="05000000000000000000" pitchFamily="2" charset="2"/>
              <a:buChar char="§"/>
            </a:pPr>
            <a:r>
              <a:rPr lang="en-US" sz="2000" dirty="0"/>
              <a:t>The framework involves data query from CSW, data pre-processing, machine learning models, spatial interpolation, and compilation of data in ARDs.  </a:t>
            </a:r>
          </a:p>
          <a:p>
            <a:pPr marL="457200" lvl="1" indent="0">
              <a:lnSpc>
                <a:spcPct val="200000"/>
              </a:lnSpc>
              <a:buNone/>
            </a:pPr>
            <a:endParaRPr lang="en-US" sz="1600" dirty="0"/>
          </a:p>
        </p:txBody>
      </p:sp>
      <p:sp>
        <p:nvSpPr>
          <p:cNvPr id="13" name="Slide Number Placeholder 12">
            <a:extLst>
              <a:ext uri="{FF2B5EF4-FFF2-40B4-BE49-F238E27FC236}">
                <a16:creationId xmlns:a16="http://schemas.microsoft.com/office/drawing/2014/main" id="{3BF66BB4-76B3-B846-B348-5E45C1721294}"/>
              </a:ext>
            </a:extLst>
          </p:cNvPr>
          <p:cNvSpPr>
            <a:spLocks noGrp="1"/>
          </p:cNvSpPr>
          <p:nvPr>
            <p:ph type="sldNum" sz="quarter" idx="12"/>
          </p:nvPr>
        </p:nvSpPr>
        <p:spPr/>
        <p:txBody>
          <a:bodyPr/>
          <a:lstStyle/>
          <a:p>
            <a:fld id="{EEAD9179-7A6B-4268-BEB2-F3B8EB06115B}" type="slidenum">
              <a:rPr lang="en-US" noProof="0" smtClean="0"/>
              <a:t>9</a:t>
            </a:fld>
            <a:endParaRPr lang="en-US" noProof="0"/>
          </a:p>
        </p:txBody>
      </p:sp>
    </p:spTree>
    <p:extLst>
      <p:ext uri="{BB962C8B-B14F-4D97-AF65-F5344CB8AC3E}">
        <p14:creationId xmlns:p14="http://schemas.microsoft.com/office/powerpoint/2010/main" val="32998195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XdGgQG8SHewGNVH9jbb7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haredContentType xmlns="Microsoft.SharePoint.Taxonomy.ContentTypeSync" SourceId="7bc43322-b630-4bac-8b27-31def233d1d0" ContentTypeId="0x0101" PreviousValue="false" LastSyncTimeStamp="2020-06-15T18:42:56.37Z"/>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AFBBAC6F419614D8F9C340ECCB410E4" ma:contentTypeVersion="14" ma:contentTypeDescription="Create a new document." ma:contentTypeScope="" ma:versionID="2761aa03386c19b65516cdf42a151c00">
  <xsd:schema xmlns:xsd="http://www.w3.org/2001/XMLSchema" xmlns:xs="http://www.w3.org/2001/XMLSchema" xmlns:p="http://schemas.microsoft.com/office/2006/metadata/properties" xmlns:ns1="http://schemas.microsoft.com/sharepoint/v3" xmlns:ns2="1a4d292e-883c-434b-96e3-060cfff16c86" xmlns:ns3="5d2d6348-5876-4cf1-ba3d-b6126e5790a6" xmlns:ns4="1466371e-9f00-4400-bf45-487a1127fc04" targetNamespace="http://schemas.microsoft.com/office/2006/metadata/properties" ma:root="true" ma:fieldsID="d20531107d3bdb09f557287e79a351dc" ns1:_="" ns2:_="" ns3:_="" ns4:_="">
    <xsd:import namespace="http://schemas.microsoft.com/sharepoint/v3"/>
    <xsd:import namespace="1a4d292e-883c-434b-96e3-060cfff16c86"/>
    <xsd:import namespace="5d2d6348-5876-4cf1-ba3d-b6126e5790a6"/>
    <xsd:import namespace="1466371e-9f00-4400-bf45-487a1127fc04"/>
    <xsd:element name="properties">
      <xsd:complexType>
        <xsd:sequence>
          <xsd:element name="documentManagement">
            <xsd:complexType>
              <xsd:all>
                <xsd:element ref="ns2:TaxCatchAll" minOccurs="0"/>
                <xsd:element ref="ns2:TaxCatchAllLabel" minOccurs="0"/>
                <xsd:element ref="ns1:_dlc_Exempt" minOccurs="0"/>
                <xsd:element ref="ns1:_dlc_ExpireDateSaved" minOccurs="0"/>
                <xsd:element ref="ns1:_dlc_ExpireDate" minOccurs="0"/>
                <xsd:element ref="ns3:SharedWithUsers" minOccurs="0"/>
                <xsd:element ref="ns3:SharedWithDetails" minOccurs="0"/>
                <xsd:element ref="ns4:MediaServiceMetadata" minOccurs="0"/>
                <xsd:element ref="ns4:MediaServiceFastMetadata" minOccurs="0"/>
                <xsd:element ref="ns4:MediaServiceDateTaken" minOccurs="0"/>
                <xsd:element ref="ns4:MediaLengthInSeconds" minOccurs="0"/>
                <xsd:element ref="ns4:MediaServiceAutoTags" minOccurs="0"/>
                <xsd:element ref="ns4:MediaServiceGenerationTime" minOccurs="0"/>
                <xsd:element ref="ns4:MediaServiceEventHashCode" minOccurs="0"/>
                <xsd:element ref="ns4:MediaServiceOCR" minOccurs="0"/>
                <xsd:element ref="ns4:lcf76f155ced4ddcb4097134ff3c332f" minOccurs="0"/>
                <xsd:element ref="ns4:MediaServiceLocation" minOccurs="0"/>
                <xsd:element ref="ns4: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10" nillable="true" ma:displayName="Exempt from Policy" ma:hidden="true" ma:internalName="_dlc_Exempt" ma:readOnly="false">
      <xsd:simpleType>
        <xsd:restriction base="dms:Unknown"/>
      </xsd:simpleType>
    </xsd:element>
    <xsd:element name="_dlc_ExpireDateSaved" ma:index="11" nillable="true" ma:displayName="Original Expiration Date" ma:hidden="true" ma:internalName="_dlc_ExpireDateSaved" ma:readOnly="false">
      <xsd:simpleType>
        <xsd:restriction base="dms:DateTime"/>
      </xsd:simpleType>
    </xsd:element>
    <xsd:element name="_dlc_ExpireDate" ma:index="12" nillable="true" ma:displayName="Expiration Date" ma:hidden="true" ma:internalName="_dlc_ExpireDate" ma:readOnly="fals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1a4d292e-883c-434b-96e3-060cfff16c86" elementFormDefault="qualified">
    <xsd:import namespace="http://schemas.microsoft.com/office/2006/documentManagement/types"/>
    <xsd:import namespace="http://schemas.microsoft.com/office/infopath/2007/PartnerControls"/>
    <xsd:element name="TaxCatchAll" ma:index="8" nillable="true" ma:displayName="Taxonomy Catch All Column" ma:description="" ma:hidden="true" ma:list="{cef5aa78-aca2-4055-99f2-3c8467eed9f0}" ma:internalName="TaxCatchAll" ma:showField="CatchAllData" ma:web="5d2d6348-5876-4cf1-ba3d-b6126e5790a6">
      <xsd:complexType>
        <xsd:complexContent>
          <xsd:extension base="dms:MultiChoiceLookup">
            <xsd:sequence>
              <xsd:element name="Value" type="dms:Lookup" maxOccurs="unbounded" minOccurs="0" nillable="true"/>
            </xsd:sequence>
          </xsd:extension>
        </xsd:complexContent>
      </xsd:complexType>
    </xsd:element>
    <xsd:element name="TaxCatchAllLabel" ma:index="9" nillable="true" ma:displayName="Taxonomy Catch All Column1" ma:description="" ma:hidden="true" ma:list="{cef5aa78-aca2-4055-99f2-3c8467eed9f0}" ma:internalName="TaxCatchAllLabel" ma:readOnly="true" ma:showField="CatchAllDataLabel" ma:web="5d2d6348-5876-4cf1-ba3d-b6126e5790a6">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5d2d6348-5876-4cf1-ba3d-b6126e5790a6"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466371e-9f00-4400-bf45-487a1127fc04" elementFormDefault="qualified">
    <xsd:import namespace="http://schemas.microsoft.com/office/2006/documentManagement/types"/>
    <xsd:import namespace="http://schemas.microsoft.com/office/infopath/2007/PartnerControls"/>
    <xsd:element name="MediaServiceMetadata" ma:index="15" nillable="true" ma:displayName="MediaServiceMetadata" ma:hidden="true" ma:internalName="MediaServiceMetadata" ma:readOnly="true">
      <xsd:simpleType>
        <xsd:restriction base="dms:Note"/>
      </xsd:simpleType>
    </xsd:element>
    <xsd:element name="MediaServiceFastMetadata" ma:index="16" nillable="true" ma:displayName="MediaServiceFastMetadata" ma:hidden="true" ma:internalName="MediaServiceFastMetadata" ma:readOnly="true">
      <xsd:simpleType>
        <xsd:restriction base="dms:Note"/>
      </xsd:simpleType>
    </xsd:element>
    <xsd:element name="MediaServiceDateTaken" ma:index="17" nillable="true" ma:displayName="MediaServiceDateTaken" ma:hidden="true" ma:internalName="MediaServiceDateTake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AutoTags" ma:index="19" nillable="true" ma:displayName="Tags" ma:internalName="MediaServiceAutoTags"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OCR" ma:index="22" nillable="true" ma:displayName="Extracted Text" ma:internalName="MediaServiceOCR" ma:readOnly="true">
      <xsd:simpleType>
        <xsd:restriction base="dms:Note">
          <xsd:maxLength value="255"/>
        </xsd:restriction>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7bc43322-b630-4bac-8b27-31def233d1d0" ma:termSetId="09814cd3-568e-fe90-9814-8d621ff8fb84" ma:anchorId="fba54fb3-c3e1-fe81-a776-ca4b69148c4d" ma:open="true" ma:isKeyword="false">
      <xsd:complexType>
        <xsd:sequence>
          <xsd:element ref="pc:Terms" minOccurs="0" maxOccurs="1"/>
        </xsd:sequence>
      </xsd:complexType>
    </xsd:element>
    <xsd:element name="MediaServiceLocation" ma:index="25" nillable="true" ma:displayName="Location" ma:indexed="true" ma:internalName="MediaServiceLocation" ma:readOnly="true">
      <xsd:simpleType>
        <xsd:restriction base="dms:Text"/>
      </xsd:simple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TaxCatchAll xmlns="1a4d292e-883c-434b-96e3-060cfff16c86" xsi:nil="true"/>
    <_dlc_ExpireDateSaved xmlns="http://schemas.microsoft.com/sharepoint/v3" xsi:nil="true"/>
    <lcf76f155ced4ddcb4097134ff3c332f xmlns="1466371e-9f00-4400-bf45-487a1127fc04">
      <Terms xmlns="http://schemas.microsoft.com/office/infopath/2007/PartnerControls"/>
    </lcf76f155ced4ddcb4097134ff3c332f>
    <_dlc_ExpireDate xmlns="http://schemas.microsoft.com/sharepoint/v3" xsi:nil="true"/>
    <_dlc_Exempt xmlns="http://schemas.microsoft.com/sharepoint/v3" xsi:nil="true"/>
    <SharedWithUsers xmlns="5d2d6348-5876-4cf1-ba3d-b6126e5790a6">
      <UserInfo>
        <DisplayName>Nan An</DisplayName>
        <AccountId>645</AccountId>
        <AccountType/>
      </UserInfo>
      <UserInfo>
        <DisplayName>Ariel Wang</DisplayName>
        <AccountId>646</AccountId>
        <AccountType/>
      </UserInfo>
      <UserInfo>
        <DisplayName>Feng Yu</DisplayName>
        <AccountId>183</AccountId>
        <AccountType/>
      </UserInfo>
    </SharedWithUsers>
  </documentManagement>
</p:properties>
</file>

<file path=customXml/itemProps1.xml><?xml version="1.0" encoding="utf-8"?>
<ds:datastoreItem xmlns:ds="http://schemas.openxmlformats.org/officeDocument/2006/customXml" ds:itemID="{1261A9EB-BA29-4E85-8C83-0D88743D7215}">
  <ds:schemaRefs>
    <ds:schemaRef ds:uri="Microsoft.SharePoint.Taxonomy.ContentTypeSync"/>
  </ds:schemaRefs>
</ds:datastoreItem>
</file>

<file path=customXml/itemProps2.xml><?xml version="1.0" encoding="utf-8"?>
<ds:datastoreItem xmlns:ds="http://schemas.openxmlformats.org/officeDocument/2006/customXml" ds:itemID="{5233E8E6-5AA5-4891-86B2-5ABB1B7AAFFF}">
  <ds:schemaRefs>
    <ds:schemaRef ds:uri="http://schemas.microsoft.com/sharepoint/v3/contenttype/forms"/>
  </ds:schemaRefs>
</ds:datastoreItem>
</file>

<file path=customXml/itemProps3.xml><?xml version="1.0" encoding="utf-8"?>
<ds:datastoreItem xmlns:ds="http://schemas.openxmlformats.org/officeDocument/2006/customXml" ds:itemID="{F313DD10-BF9F-493E-B1A2-DC1B5D52667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a4d292e-883c-434b-96e3-060cfff16c86"/>
    <ds:schemaRef ds:uri="5d2d6348-5876-4cf1-ba3d-b6126e5790a6"/>
    <ds:schemaRef ds:uri="1466371e-9f00-4400-bf45-487a1127fc0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84356915-BE62-417D-8134-874E716F0CDA}">
  <ds:schemaRefs>
    <ds:schemaRef ds:uri="http://schemas.microsoft.com/office/2006/metadata/properties"/>
    <ds:schemaRef ds:uri="http://schemas.microsoft.com/office/infopath/2007/PartnerControls"/>
    <ds:schemaRef ds:uri="1a4d292e-883c-434b-96e3-060cfff16c86"/>
    <ds:schemaRef ds:uri="http://schemas.microsoft.com/sharepoint/v3"/>
    <ds:schemaRef ds:uri="1466371e-9f00-4400-bf45-487a1127fc04"/>
    <ds:schemaRef ds:uri="5d2d6348-5876-4cf1-ba3d-b6126e5790a6"/>
  </ds:schemaRefs>
</ds:datastoreItem>
</file>

<file path=docProps/app.xml><?xml version="1.0" encoding="utf-8"?>
<Properties xmlns="http://schemas.openxmlformats.org/officeDocument/2006/extended-properties" xmlns:vt="http://schemas.openxmlformats.org/officeDocument/2006/docPropsVTypes">
  <Template/>
  <TotalTime>0</TotalTime>
  <Words>4369</Words>
  <Application>Microsoft Office PowerPoint</Application>
  <PresentationFormat>Widescreen</PresentationFormat>
  <Paragraphs>637</Paragraphs>
  <Slides>44</Slides>
  <Notes>28</Notes>
  <HiddenSlides>2</HiddenSlides>
  <MMClips>0</MMClips>
  <ScaleCrop>false</ScaleCrop>
  <HeadingPairs>
    <vt:vector size="4" baseType="variant">
      <vt:variant>
        <vt:lpstr>Theme</vt:lpstr>
      </vt:variant>
      <vt:variant>
        <vt:i4>1</vt:i4>
      </vt:variant>
      <vt:variant>
        <vt:lpstr>Slide Titles</vt:lpstr>
      </vt:variant>
      <vt:variant>
        <vt:i4>44</vt:i4>
      </vt:variant>
    </vt:vector>
  </HeadingPairs>
  <TitlesOfParts>
    <vt:vector size="45" baseType="lpstr">
      <vt:lpstr>Office Theme</vt:lpstr>
      <vt:lpstr>Applications of Machine Learning in Improving Spatial Resolution of Modeled Weather Dataset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ues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Bayer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plications of Machine Learning in Improving Spatial Resolution of Modeled Weather Datasets </dc:title>
  <dc:creator>Md Fahim Hasan</dc:creator>
  <cp:lastModifiedBy>Md Fahim Hasan</cp:lastModifiedBy>
  <cp:revision>11</cp:revision>
  <dcterms:created xsi:type="dcterms:W3CDTF">2023-07-17T16:26:56Z</dcterms:created>
  <dcterms:modified xsi:type="dcterms:W3CDTF">2023-07-28T20:07: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c76c141-ac86-40e5-abf2-c6f60e474cee_Enabled">
    <vt:lpwstr>true</vt:lpwstr>
  </property>
  <property fmtid="{D5CDD505-2E9C-101B-9397-08002B2CF9AE}" pid="3" name="MSIP_Label_2c76c141-ac86-40e5-abf2-c6f60e474cee_SetDate">
    <vt:lpwstr>2023-07-27T15:52:46Z</vt:lpwstr>
  </property>
  <property fmtid="{D5CDD505-2E9C-101B-9397-08002B2CF9AE}" pid="4" name="MSIP_Label_2c76c141-ac86-40e5-abf2-c6f60e474cee_Method">
    <vt:lpwstr>Privileged</vt:lpwstr>
  </property>
  <property fmtid="{D5CDD505-2E9C-101B-9397-08002B2CF9AE}" pid="5" name="MSIP_Label_2c76c141-ac86-40e5-abf2-c6f60e474cee_Name">
    <vt:lpwstr>2c76c141-ac86-40e5-abf2-c6f60e474cee</vt:lpwstr>
  </property>
  <property fmtid="{D5CDD505-2E9C-101B-9397-08002B2CF9AE}" pid="6" name="MSIP_Label_2c76c141-ac86-40e5-abf2-c6f60e474cee_SiteId">
    <vt:lpwstr>fcb2b37b-5da0-466b-9b83-0014b67a7c78</vt:lpwstr>
  </property>
  <property fmtid="{D5CDD505-2E9C-101B-9397-08002B2CF9AE}" pid="7" name="MSIP_Label_2c76c141-ac86-40e5-abf2-c6f60e474cee_ActionId">
    <vt:lpwstr>a29a1b12-492d-48fe-ae6e-04cec74edbee</vt:lpwstr>
  </property>
  <property fmtid="{D5CDD505-2E9C-101B-9397-08002B2CF9AE}" pid="8" name="MSIP_Label_2c76c141-ac86-40e5-abf2-c6f60e474cee_ContentBits">
    <vt:lpwstr>2</vt:lpwstr>
  </property>
  <property fmtid="{D5CDD505-2E9C-101B-9397-08002B2CF9AE}" pid="9" name="ClassificationContentMarkingFooterLocations">
    <vt:lpwstr>Office Theme:8</vt:lpwstr>
  </property>
  <property fmtid="{D5CDD505-2E9C-101B-9397-08002B2CF9AE}" pid="10" name="ClassificationContentMarkingFooterText">
    <vt:lpwstr>RESTRICTED</vt:lpwstr>
  </property>
  <property fmtid="{D5CDD505-2E9C-101B-9397-08002B2CF9AE}" pid="11" name="ContentTypeId">
    <vt:lpwstr>0x010100EAFBBAC6F419614D8F9C340ECCB410E4</vt:lpwstr>
  </property>
  <property fmtid="{D5CDD505-2E9C-101B-9397-08002B2CF9AE}" pid="12" name="MediaServiceImageTags">
    <vt:lpwstr/>
  </property>
</Properties>
</file>